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notesSlides/notesSlide2.xml" ContentType="application/vnd.openxmlformats-officedocument.presentationml.notesSlide+xml"/>
  <Override PartName="/ppt/notesSlides/notesSlide7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5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75" r:id="rId3"/>
    <p:sldMasterId id="2147483677" r:id="rId4"/>
    <p:sldMasterId id="2147483679" r:id="rId5"/>
    <p:sldMasterId id="2147483681" r:id="rId6"/>
  </p:sldMasterIdLst>
  <p:notesMasterIdLst>
    <p:notesMasterId r:id="rId45"/>
  </p:notesMasterIdLst>
  <p:sldIdLst>
    <p:sldId id="261" r:id="rId7"/>
    <p:sldId id="1205" r:id="rId8"/>
    <p:sldId id="265" r:id="rId9"/>
    <p:sldId id="266" r:id="rId10"/>
    <p:sldId id="256" r:id="rId11"/>
    <p:sldId id="276" r:id="rId12"/>
    <p:sldId id="277" r:id="rId13"/>
    <p:sldId id="258" r:id="rId14"/>
    <p:sldId id="267" r:id="rId15"/>
    <p:sldId id="257" r:id="rId16"/>
    <p:sldId id="259" r:id="rId17"/>
    <p:sldId id="274" r:id="rId18"/>
    <p:sldId id="260" r:id="rId19"/>
    <p:sldId id="271" r:id="rId20"/>
    <p:sldId id="268" r:id="rId21"/>
    <p:sldId id="278" r:id="rId22"/>
    <p:sldId id="272" r:id="rId23"/>
    <p:sldId id="279" r:id="rId24"/>
    <p:sldId id="275" r:id="rId25"/>
    <p:sldId id="273" r:id="rId26"/>
    <p:sldId id="1218" r:id="rId27"/>
    <p:sldId id="307" r:id="rId28"/>
    <p:sldId id="308" r:id="rId29"/>
    <p:sldId id="310" r:id="rId30"/>
    <p:sldId id="309" r:id="rId31"/>
    <p:sldId id="311" r:id="rId32"/>
    <p:sldId id="312" r:id="rId33"/>
    <p:sldId id="487" r:id="rId34"/>
    <p:sldId id="1207" r:id="rId35"/>
    <p:sldId id="1208" r:id="rId36"/>
    <p:sldId id="1210" r:id="rId37"/>
    <p:sldId id="1209" r:id="rId38"/>
    <p:sldId id="1214" r:id="rId39"/>
    <p:sldId id="1215" r:id="rId40"/>
    <p:sldId id="1216" r:id="rId41"/>
    <p:sldId id="1212" r:id="rId42"/>
    <p:sldId id="280" r:id="rId43"/>
    <p:sldId id="270" r:id="rId4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D1499C2-C762-44F6-ABD4-DAA0B44E2C7A}">
          <p14:sldIdLst>
            <p14:sldId id="261"/>
            <p14:sldId id="1205"/>
            <p14:sldId id="265"/>
            <p14:sldId id="266"/>
            <p14:sldId id="256"/>
            <p14:sldId id="276"/>
            <p14:sldId id="277"/>
            <p14:sldId id="258"/>
            <p14:sldId id="267"/>
            <p14:sldId id="257"/>
            <p14:sldId id="259"/>
            <p14:sldId id="274"/>
            <p14:sldId id="260"/>
            <p14:sldId id="271"/>
            <p14:sldId id="268"/>
            <p14:sldId id="278"/>
            <p14:sldId id="272"/>
            <p14:sldId id="279"/>
            <p14:sldId id="275"/>
            <p14:sldId id="273"/>
            <p14:sldId id="1218"/>
            <p14:sldId id="307"/>
            <p14:sldId id="308"/>
            <p14:sldId id="310"/>
            <p14:sldId id="309"/>
            <p14:sldId id="311"/>
            <p14:sldId id="312"/>
            <p14:sldId id="487"/>
            <p14:sldId id="1207"/>
            <p14:sldId id="1208"/>
            <p14:sldId id="1210"/>
            <p14:sldId id="1209"/>
            <p14:sldId id="1214"/>
            <p14:sldId id="1215"/>
            <p14:sldId id="1216"/>
            <p14:sldId id="1212"/>
            <p14:sldId id="280"/>
          </p14:sldIdLst>
        </p14:section>
        <p14:section name="Untitled Section" id="{15DC4D6F-40DB-4FE4-9422-C81EBCAE8DCE}">
          <p14:sldIdLst>
            <p14:sldId id="27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0000FF"/>
    <a:srgbClr val="333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63" autoAdjust="0"/>
    <p:restoredTop sz="94607" autoAdjust="0"/>
  </p:normalViewPr>
  <p:slideViewPr>
    <p:cSldViewPr snapToGrid="0">
      <p:cViewPr varScale="1">
        <p:scale>
          <a:sx n="101" d="100"/>
          <a:sy n="101" d="100"/>
        </p:scale>
        <p:origin x="61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viewProps" Target="viewProps.xml"/><Relationship Id="rId50" Type="http://schemas.openxmlformats.org/officeDocument/2006/relationships/customXml" Target="../customXml/item1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notesMaster" Target="notesMasters/notesMaster1.xml"/><Relationship Id="rId53" Type="http://schemas.openxmlformats.org/officeDocument/2006/relationships/customXml" Target="../customXml/item4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customXml" Target="../customXml/item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theme" Target="theme/theme1.xml"/><Relationship Id="rId8" Type="http://schemas.openxmlformats.org/officeDocument/2006/relationships/slide" Target="slides/slide2.xml"/><Relationship Id="rId51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presProps" Target="pres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C04F54-F98E-43EC-8676-41DB66235A40}" type="datetimeFigureOut">
              <a:rPr lang="en-US" smtClean="0"/>
              <a:t>2/28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4D3DB7-ABF3-401D-AF1F-9727A735F49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7990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72313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66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65573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1521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1534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62834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F7EE63-4072-4F71-B67E-C6341F151BD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39173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4" name="Google Shape;174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79861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D123054E-7245-4C0F-A7DE-0CAAD8076BF3}" type="datetime1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2/28/2024</a:t>
            </a:fld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9" name="Google Shape;19;p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9/21/2021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0" name="Google Shape;20;p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194686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9DEF6-7978-E042-A0A1-33F25AC493C0}" type="datetimeFigureOut">
              <a:rPr lang="en-US" smtClean="0"/>
              <a:t>2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2F4E8-48B0-FE42-82AF-298EC18CB6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155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479AB-C233-411B-A5E3-7BC4966E8A5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8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8CBA6-6A9E-4C95-8616-2E467D3051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7C2415-E118-FE4B-B334-792B5D547A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244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0C1DDEC-9161-534A-B683-8EE7BBE132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409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479AB-C233-411B-A5E3-7BC4966E8A5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8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8CBA6-6A9E-4C95-8616-2E467D3051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C05780-7E01-1546-9AE3-978F0C8FF1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754" y="6091354"/>
            <a:ext cx="2657821" cy="630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3334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C49BDE-E7B2-274B-981F-3ECE8D7E15A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409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8CBA6-6A9E-4C95-8616-2E467D3051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479AB-C233-411B-A5E3-7BC4966E8A5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8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D7006E-2A4A-3745-8EAC-D216C9C29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754" y="6091354"/>
            <a:ext cx="2657821" cy="630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9420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theme" Target="../theme/theme2.xml"/><Relationship Id="rId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heme" Target="../theme/theme5.xml"/><Relationship Id="rId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C59EA794-B7BB-4416-B3BA-38E42D8F09AA}" type="datetime1">
              <a:rPr lang="en-US" smtClean="0"/>
              <a:t>2/28/2024</a:t>
            </a:fld>
            <a:endParaRPr dirty="0"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9/21/2021</a:t>
            </a:r>
            <a:endParaRPr dirty="0"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67980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80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7D84E0-25D1-4ACF-96C4-492F47500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317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7D84E0-25D1-4ACF-96C4-492F47500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663258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554480"/>
            <a:ext cx="10972800" cy="459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  <a:p>
            <a:pPr lvl="5"/>
            <a:r>
              <a:rPr lang="en-US" altLang="en-US"/>
              <a:t>Sixth level</a:t>
            </a:r>
          </a:p>
          <a:p>
            <a:pPr lvl="6"/>
            <a:r>
              <a:rPr lang="en-US" altLang="en-US"/>
              <a:t>Seventh level</a:t>
            </a:r>
          </a:p>
          <a:p>
            <a:pPr lvl="7"/>
            <a:r>
              <a:rPr lang="en-US" altLang="en-US"/>
              <a:t>Eighth level</a:t>
            </a:r>
          </a:p>
          <a:p>
            <a:pPr lvl="8"/>
            <a:r>
              <a:rPr lang="en-US" altLang="en-US"/>
              <a:t>Ninth level</a:t>
            </a:r>
          </a:p>
          <a:p>
            <a:pPr lvl="8"/>
            <a:r>
              <a:rPr lang="en-US" altLang="en-US"/>
              <a:t>Ten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320"/>
            <a:ext cx="10972800" cy="118872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5789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8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243834" indent="-243834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87668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31502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0584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21917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14173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16459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182880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01168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554480"/>
            <a:ext cx="10972800" cy="459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  <a:p>
            <a:pPr lvl="5"/>
            <a:r>
              <a:rPr lang="en-US" altLang="en-US"/>
              <a:t>Sixth level</a:t>
            </a:r>
          </a:p>
          <a:p>
            <a:pPr lvl="6"/>
            <a:r>
              <a:rPr lang="en-US" altLang="en-US"/>
              <a:t>Seventh level</a:t>
            </a:r>
          </a:p>
          <a:p>
            <a:pPr lvl="7"/>
            <a:r>
              <a:rPr lang="en-US" altLang="en-US"/>
              <a:t>Eighth level</a:t>
            </a:r>
          </a:p>
          <a:p>
            <a:pPr lvl="8"/>
            <a:r>
              <a:rPr lang="en-US" altLang="en-US"/>
              <a:t>Ninth level</a:t>
            </a:r>
          </a:p>
          <a:p>
            <a:pPr lvl="8"/>
            <a:r>
              <a:rPr lang="en-US" altLang="en-US"/>
              <a:t>Ten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320"/>
            <a:ext cx="10972800" cy="118872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1490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8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243834" indent="-243834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87668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31502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0584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21917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14173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16459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182880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01168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7D84E0-25D1-4ACF-96C4-492F47500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1626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7D84E0-25D1-4ACF-96C4-492F47500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74259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6479AB-C233-411B-A5E3-7BC4966E8A5C}" type="datetimeFigureOut">
              <a:rPr lang="en-US" smtClean="0"/>
              <a:pPr/>
              <a:t>2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88CBA6-6A9E-4C95-8616-2E467D3051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189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Avenir Medium" charset="0"/>
          <a:ea typeface="Avenir Medium" charset="0"/>
          <a:cs typeface="Avenir Medium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hyperlink" Target="about:blank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hyperlink" Target="about:blank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hyperlink" Target="about:blank" TargetMode="External"/><Relationship Id="rId4" Type="http://schemas.openxmlformats.org/officeDocument/2006/relationships/image" Target="../media/image2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hyperlink" Target="https://www.ncbi.nlm.nih.gov/pmc/articles/PMC8527593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surveymonkey.com/r/CXQLN9B" TargetMode="External"/><Relationship Id="rId5" Type="http://schemas.openxmlformats.org/officeDocument/2006/relationships/hyperlink" Target="https://www.surveymonkey.com/r/" TargetMode="External"/><Relationship Id="rId4" Type="http://schemas.openxmlformats.org/officeDocument/2006/relationships/image" Target="../media/image32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www.surveymonkey.com/r/CXQLN9B" TargetMode="External"/><Relationship Id="rId4" Type="http://schemas.openxmlformats.org/officeDocument/2006/relationships/hyperlink" Target="https://www.surveymonkey.com/r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3"/>
          <p:cNvSpPr txBox="1">
            <a:spLocks noGrp="1"/>
          </p:cNvSpPr>
          <p:nvPr>
            <p:ph type="ctrTitle"/>
          </p:nvPr>
        </p:nvSpPr>
        <p:spPr>
          <a:xfrm>
            <a:off x="439615" y="1122362"/>
            <a:ext cx="11271739" cy="19669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en-US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Job Corps Center Physician</a:t>
            </a:r>
            <a:br>
              <a:rPr lang="en-US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Monthly Teleconference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89" name="Google Shape;89;p13"/>
          <p:cNvSpPr txBox="1">
            <a:spLocks noGrp="1"/>
          </p:cNvSpPr>
          <p:nvPr>
            <p:ph type="subTitle" idx="1"/>
          </p:nvPr>
        </p:nvSpPr>
        <p:spPr>
          <a:xfrm>
            <a:off x="1752600" y="3347048"/>
            <a:ext cx="9237453" cy="30623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 algn="l">
              <a:spcBef>
                <a:spcPts val="0"/>
              </a:spcBef>
              <a:buSzPts val="3700"/>
            </a:pPr>
            <a:r>
              <a:rPr lang="en-US" sz="2200" b="1" dirty="0"/>
              <a:t>John Kulig MD MPH      		Region 1 Boston &amp; Region 2 Philadelphia</a:t>
            </a:r>
          </a:p>
          <a:p>
            <a:pPr marL="0" indent="0" algn="l">
              <a:spcBef>
                <a:spcPts val="0"/>
              </a:spcBef>
              <a:buSzPts val="3700"/>
            </a:pPr>
            <a:r>
              <a:rPr lang="en-US" sz="2200" b="1" dirty="0"/>
              <a:t>Sara Mackenzie MD MPH	Region 6 San Francisco</a:t>
            </a:r>
          </a:p>
          <a:p>
            <a:pPr marL="0" indent="0" algn="l">
              <a:spcBef>
                <a:spcPts val="0"/>
              </a:spcBef>
              <a:buSzPts val="3700"/>
            </a:pPr>
            <a:r>
              <a:rPr lang="en-US" sz="2200" b="1" dirty="0"/>
              <a:t>Drew Alexander MD     		Region 4 Dallas</a:t>
            </a:r>
          </a:p>
          <a:p>
            <a:pPr marL="0" indent="0" algn="l">
              <a:spcBef>
                <a:spcPts val="0"/>
              </a:spcBef>
              <a:buSzPts val="3700"/>
            </a:pPr>
            <a:r>
              <a:rPr lang="en-US" sz="2200" b="1" dirty="0"/>
              <a:t>Gary Strokosch MD       		Region 3 Atlanta &amp; Region 5 Chicago</a:t>
            </a:r>
          </a:p>
          <a:p>
            <a:pPr marL="0" indent="0" algn="l">
              <a:spcBef>
                <a:spcPts val="0"/>
              </a:spcBef>
              <a:buSzPts val="3700"/>
            </a:pPr>
            <a:r>
              <a:rPr lang="en-US" sz="2200" b="1" dirty="0">
                <a:solidFill>
                  <a:srgbClr val="FF0000"/>
                </a:solidFill>
              </a:rPr>
              <a:t>HIPAA compliant messages</a:t>
            </a:r>
            <a:r>
              <a:rPr lang="en-US" sz="2200" b="1" dirty="0"/>
              <a:t>        use @jobcorps.org email address</a:t>
            </a:r>
          </a:p>
          <a:p>
            <a:pPr marL="0" indent="0" algn="l">
              <a:spcBef>
                <a:spcPts val="0"/>
              </a:spcBef>
              <a:buSzPts val="3700"/>
            </a:pPr>
            <a:r>
              <a:rPr lang="en-US" b="1" dirty="0"/>
              <a:t> </a:t>
            </a:r>
            <a:r>
              <a:rPr lang="en-US" b="1" dirty="0">
                <a:solidFill>
                  <a:srgbClr val="0000FF"/>
                </a:solidFill>
              </a:rPr>
              <a:t>	</a:t>
            </a:r>
            <a:endParaRPr lang="en-US" dirty="0">
              <a:solidFill>
                <a:srgbClr val="0000FF"/>
              </a:solidFill>
            </a:endParaRPr>
          </a:p>
          <a:p>
            <a:pPr marL="0" indent="0" algn="l">
              <a:spcBef>
                <a:spcPts val="0"/>
              </a:spcBef>
              <a:buSzPts val="3700"/>
            </a:pPr>
            <a:r>
              <a:rPr lang="en-US" sz="4400" b="1" dirty="0">
                <a:solidFill>
                  <a:srgbClr val="0000FF"/>
                </a:solidFill>
              </a:rPr>
              <a:t>        </a:t>
            </a:r>
            <a:r>
              <a:rPr lang="en-US" sz="4400" b="1" dirty="0"/>
              <a:t>Wednesday, July 26</a:t>
            </a:r>
            <a:r>
              <a:rPr lang="en-US" sz="4400" b="1" baseline="30000" dirty="0"/>
              <a:t>th</a:t>
            </a:r>
            <a:r>
              <a:rPr lang="en-US" sz="4400" b="1" dirty="0"/>
              <a:t>, 2023</a:t>
            </a:r>
            <a:endParaRPr lang="en-US" sz="4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8868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8E014F-F755-C589-DCF9-E4CB3EA15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637290"/>
            <a:ext cx="9404723" cy="1400530"/>
          </a:xfrm>
        </p:spPr>
        <p:txBody>
          <a:bodyPr/>
          <a:lstStyle/>
          <a:p>
            <a:pPr algn="ctr"/>
            <a:r>
              <a:rPr lang="en-US" dirty="0"/>
              <a:t>Needs Assess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5084B8-02E9-CF02-9E2F-847C7F1A8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1596" y="1853248"/>
            <a:ext cx="8946541" cy="4367462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§"/>
            </a:pPr>
            <a:r>
              <a:rPr lang="en-US" dirty="0"/>
              <a:t>Interviewed nurses to understand what they saw as the challenges and to identify their strengths.</a:t>
            </a:r>
          </a:p>
          <a:p>
            <a:pPr>
              <a:buFont typeface="Wingdings" pitchFamily="2" charset="2"/>
              <a:buChar char="§"/>
            </a:pPr>
            <a:r>
              <a:rPr lang="en-US" dirty="0"/>
              <a:t>Observed meetings were irregular, reactive, sometimes  felt critical. </a:t>
            </a:r>
          </a:p>
          <a:p>
            <a:pPr>
              <a:buFont typeface="Wingdings" pitchFamily="2" charset="2"/>
              <a:buChar char="§"/>
            </a:pPr>
            <a:r>
              <a:rPr lang="en-US" dirty="0"/>
              <a:t>Audited charts to create lists of students with chronic diseases.</a:t>
            </a:r>
          </a:p>
          <a:p>
            <a:pPr>
              <a:buFont typeface="Wingdings" pitchFamily="2" charset="2"/>
              <a:buChar char="§"/>
            </a:pPr>
            <a:r>
              <a:rPr lang="en-US" dirty="0"/>
              <a:t>Recognized that turnover is a circle. If the team isn’t  organized and supportive, people leave, and if people leave, it is harder to get organized. </a:t>
            </a:r>
          </a:p>
          <a:p>
            <a:pPr marL="0" indent="0">
              <a:buNone/>
            </a:pPr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59461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D8062B-E0D1-7AD4-1A3C-C19BCCA9F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96464" y="1996385"/>
            <a:ext cx="4138863" cy="1974036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algn="ctr"/>
            <a:r>
              <a:rPr lang="en-US" sz="5400" dirty="0"/>
              <a:t>Which interventions?</a:t>
            </a:r>
          </a:p>
        </p:txBody>
      </p:sp>
      <p:pic>
        <p:nvPicPr>
          <p:cNvPr id="33" name="Picture 4" descr="Railroad tracks intersecting">
            <a:extLst>
              <a:ext uri="{FF2B5EF4-FFF2-40B4-BE49-F238E27FC236}">
                <a16:creationId xmlns:a16="http://schemas.microsoft.com/office/drawing/2014/main" id="{CE341CEF-0BCE-01DC-7D75-5A151F8823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-2" b="9214"/>
          <a:stretch/>
        </p:blipFill>
        <p:spPr>
          <a:xfrm>
            <a:off x="-1" y="10"/>
            <a:ext cx="755414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8583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1EB7D-C62B-99EA-14FA-7B7940AE9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607" y="905525"/>
            <a:ext cx="9404723" cy="1400530"/>
          </a:xfrm>
        </p:spPr>
        <p:txBody>
          <a:bodyPr/>
          <a:lstStyle/>
          <a:p>
            <a:pPr algn="ctr"/>
            <a:r>
              <a:rPr lang="en-US" sz="5400" dirty="0"/>
              <a:t>Changes Implemented</a:t>
            </a:r>
            <a:br>
              <a:rPr lang="en-US" sz="4400" dirty="0"/>
            </a:br>
            <a:endParaRPr lang="en-US" sz="5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BDD3A9-0680-6D9F-556F-D9CE74754F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7908" y="2648455"/>
            <a:ext cx="9015246" cy="2294481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sz="3200" dirty="0"/>
              <a:t>Structured team meetings 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Assign “Team Leads” for  complex team tasks      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Shared training responsibility</a:t>
            </a:r>
          </a:p>
          <a:p>
            <a:pPr marL="0" indent="0">
              <a:buNone/>
            </a:pPr>
            <a:r>
              <a:rPr lang="en-US" sz="3200" dirty="0"/>
              <a:t>         </a:t>
            </a:r>
          </a:p>
        </p:txBody>
      </p:sp>
    </p:spTree>
    <p:extLst>
      <p:ext uri="{BB962C8B-B14F-4D97-AF65-F5344CB8AC3E}">
        <p14:creationId xmlns:p14="http://schemas.microsoft.com/office/powerpoint/2010/main" val="19869165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6E51F-E9CE-FF58-1A6C-F6F6DB37E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866" y="460669"/>
            <a:ext cx="9348082" cy="1400530"/>
          </a:xfrm>
        </p:spPr>
        <p:txBody>
          <a:bodyPr/>
          <a:lstStyle/>
          <a:p>
            <a:pPr algn="ctr"/>
            <a:r>
              <a:rPr lang="en-US" sz="4400" dirty="0"/>
              <a:t>1. Structured Team Meet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656521-EFC3-C1DB-DA64-6E582D184B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0760" y="1612231"/>
            <a:ext cx="9731304" cy="437709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Schedule and set tone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Daily huddles about daily workflow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Weekly team meetings with planned agendas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Focus on team process, not reaction to problems 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Celebrate victories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Barrier: “We don’t have time to meet!”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Barriers: External pressures from administration and stude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30217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6FB8A3-0689-B73B-9121-F1A5E34E3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400" dirty="0"/>
              <a:t>Set the weekly 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A46266-A9D5-A5F6-8449-F4679BD074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43408" y="1732547"/>
            <a:ext cx="5803950" cy="4548077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3200" dirty="0"/>
              <a:t>Informational  communications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Review of a work process </a:t>
            </a:r>
          </a:p>
          <a:p>
            <a:pPr marL="50800" indent="0">
              <a:buNone/>
            </a:pPr>
            <a:r>
              <a:rPr lang="en-US" sz="3200" dirty="0"/>
              <a:t>    (i.e. medications)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“Just in time” education </a:t>
            </a:r>
          </a:p>
          <a:p>
            <a:pPr marL="50800" indent="0">
              <a:buNone/>
            </a:pPr>
            <a:r>
              <a:rPr lang="en-US" sz="3200" dirty="0"/>
              <a:t>    (i.e. Norovirus transmission) 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Difficult patient issues 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Plan for next meeting</a:t>
            </a:r>
          </a:p>
          <a:p>
            <a:pPr>
              <a:buFont typeface="Wingdings" pitchFamily="2" charset="2"/>
              <a:buChar char="§"/>
            </a:pPr>
            <a:endParaRPr lang="en-US" sz="2800" dirty="0"/>
          </a:p>
        </p:txBody>
      </p:sp>
      <p:pic>
        <p:nvPicPr>
          <p:cNvPr id="4" name="Picture 3" descr="A group of people in a circle&#10;&#10;Description automatically generated">
            <a:extLst>
              <a:ext uri="{FF2B5EF4-FFF2-40B4-BE49-F238E27FC236}">
                <a16:creationId xmlns:a16="http://schemas.microsoft.com/office/drawing/2014/main" id="{ACC5E143-92A0-7B2F-43F6-EAFCAFA800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337" y="1853248"/>
            <a:ext cx="5534526" cy="3861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9426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ADBDA-A31D-E31A-3A5E-CC7DDF0BE6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2. Assign leads for complex team tas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52C73B-FB0A-5E4F-0E52-9B53EE5F1E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3312" y="1853248"/>
            <a:ext cx="8946541" cy="4395151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2800" dirty="0"/>
              <a:t>List essential tasks (PRH)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Medications, physicals, sick call, chronic care, referrals, immunizations, labs, etc. 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Designate team leads.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Barrier: “We can’t specialize because no nurse is here all of the time.”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Clarification: Everyone must be cross-trained but the team lead for that particular task defines practice, educates, and organizes. </a:t>
            </a:r>
          </a:p>
          <a:p>
            <a:pPr>
              <a:buFont typeface="Wingdings" pitchFamily="2" charset="2"/>
              <a:buChar char="§"/>
            </a:pPr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2575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9A9FF-888E-404E-6DD0-730578679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897110"/>
          </a:xfrm>
        </p:spPr>
        <p:txBody>
          <a:bodyPr/>
          <a:lstStyle/>
          <a:p>
            <a:pPr algn="ctr"/>
            <a:r>
              <a:rPr lang="en-US" dirty="0"/>
              <a:t>3. Shared training responsi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EDF528-DE97-E944-AED8-B531D9F70C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54443" y="1727289"/>
            <a:ext cx="7026442" cy="467799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800" dirty="0"/>
              <a:t>Peer-to-peer training more effective</a:t>
            </a:r>
          </a:p>
          <a:p>
            <a:pPr marL="0" indent="0">
              <a:buNone/>
            </a:pPr>
            <a:r>
              <a:rPr lang="en-US" sz="2800" dirty="0"/>
              <a:t>Leads guide conversation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Identify current practice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Review PRH guidance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Define best practice 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Find inefficiencies </a:t>
            </a:r>
          </a:p>
          <a:p>
            <a:pPr marL="0" indent="0">
              <a:buNone/>
            </a:pPr>
            <a:r>
              <a:rPr lang="en-US" sz="2800" dirty="0"/>
              <a:t>Training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Peer onboarding</a:t>
            </a:r>
          </a:p>
          <a:p>
            <a:pPr>
              <a:buFont typeface="Wingdings" pitchFamily="2" charset="2"/>
              <a:buChar char="§"/>
            </a:pPr>
            <a:r>
              <a:rPr lang="en-US" sz="2800" dirty="0"/>
              <a:t>“Just in time” education</a:t>
            </a:r>
          </a:p>
          <a:p>
            <a:endParaRPr lang="en-US" sz="2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7883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CF19A-593C-D445-F673-DFEB21918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3638" y="410328"/>
            <a:ext cx="9404723" cy="1400530"/>
          </a:xfrm>
        </p:spPr>
        <p:txBody>
          <a:bodyPr/>
          <a:lstStyle/>
          <a:p>
            <a:pPr algn="ctr"/>
            <a:r>
              <a:rPr lang="en-US" sz="5400" dirty="0"/>
              <a:t>What changed?</a:t>
            </a:r>
          </a:p>
        </p:txBody>
      </p:sp>
      <p:pic>
        <p:nvPicPr>
          <p:cNvPr id="6" name="Content Placeholder 5" descr="A flock of geese flying in the sky&#10;&#10;Description automatically generated">
            <a:extLst>
              <a:ext uri="{FF2B5EF4-FFF2-40B4-BE49-F238E27FC236}">
                <a16:creationId xmlns:a16="http://schemas.microsoft.com/office/drawing/2014/main" id="{63066D14-86FA-AE05-19E0-579978C3EB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18467" y="1810858"/>
            <a:ext cx="9155066" cy="459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9592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F4239A-B7E3-F008-220A-9017ADF29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364" y="652388"/>
            <a:ext cx="9404723" cy="1400530"/>
          </a:xfrm>
        </p:spPr>
        <p:txBody>
          <a:bodyPr/>
          <a:lstStyle/>
          <a:p>
            <a:pPr algn="ctr"/>
            <a:r>
              <a:rPr lang="en-US" sz="5400" dirty="0"/>
              <a:t>Performance indicato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993D03-5D2A-18BF-9E92-A5686B1956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76291" y="2498088"/>
            <a:ext cx="8946541" cy="3373324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3200" dirty="0"/>
              <a:t>Better medication management processes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More consistent SOAP notes with vital signs       for acute visits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More consistent chronic care management</a:t>
            </a:r>
          </a:p>
        </p:txBody>
      </p:sp>
    </p:spTree>
    <p:extLst>
      <p:ext uri="{BB962C8B-B14F-4D97-AF65-F5344CB8AC3E}">
        <p14:creationId xmlns:p14="http://schemas.microsoft.com/office/powerpoint/2010/main" val="24961168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F6DAFD-D3E7-BF22-8BEA-E13A98674D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23627" y="2242869"/>
            <a:ext cx="8972796" cy="4166558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sz="3200" dirty="0"/>
              <a:t>More use of PRH and other online Job Corps resources. </a:t>
            </a:r>
            <a:r>
              <a:rPr lang="en-US" sz="3200" u="sng" dirty="0">
                <a:solidFill>
                  <a:srgbClr val="0000FF"/>
                </a:solidFill>
              </a:rPr>
              <a:t>https://supportservices.jobcorps.gov/health/Pages/default.aspx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Team more effectively identifying need for communication. 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More trust to manage complex problems. </a:t>
            </a: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791CA9-E5DF-EF6E-B4C4-3B00A2D868E3}"/>
              </a:ext>
            </a:extLst>
          </p:cNvPr>
          <p:cNvSpPr txBox="1"/>
          <p:nvPr/>
        </p:nvSpPr>
        <p:spPr>
          <a:xfrm>
            <a:off x="2468713" y="822623"/>
            <a:ext cx="6251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dirty="0"/>
              <a:t>Process</a:t>
            </a:r>
          </a:p>
        </p:txBody>
      </p:sp>
    </p:spTree>
    <p:extLst>
      <p:ext uri="{BB962C8B-B14F-4D97-AF65-F5344CB8AC3E}">
        <p14:creationId xmlns:p14="http://schemas.microsoft.com/office/powerpoint/2010/main" val="3200027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6E989-191B-F352-F0D7-CD01DA8877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Guest speaker</a:t>
            </a:r>
            <a:endParaRPr lang="en-US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3C6199-A338-B0E2-CF9C-898AAC636C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4300" indent="0">
              <a:buNone/>
            </a:pPr>
            <a:endParaRPr lang="en-US" sz="3200" b="1" dirty="0">
              <a:solidFill>
                <a:schemeClr val="tx1"/>
              </a:solidFill>
            </a:endParaRPr>
          </a:p>
          <a:p>
            <a:pPr marL="114300" indent="0">
              <a:buNone/>
            </a:pPr>
            <a:r>
              <a:rPr lang="en-US" sz="3200" b="1" dirty="0">
                <a:solidFill>
                  <a:schemeClr val="tx1"/>
                </a:solidFill>
              </a:rPr>
              <a:t>Karen Hover MD</a:t>
            </a:r>
          </a:p>
          <a:p>
            <a:pPr marL="114300" indent="0">
              <a:buNone/>
            </a:pPr>
            <a:r>
              <a:rPr lang="en-US" sz="3200" b="1" dirty="0">
                <a:solidFill>
                  <a:schemeClr val="tx1"/>
                </a:solidFill>
              </a:rPr>
              <a:t>Center Physician </a:t>
            </a:r>
          </a:p>
          <a:p>
            <a:pPr marL="114300" indent="0">
              <a:buNone/>
            </a:pPr>
            <a:r>
              <a:rPr lang="en-US" sz="3200" b="1" dirty="0">
                <a:solidFill>
                  <a:schemeClr val="tx1"/>
                </a:solidFill>
              </a:rPr>
              <a:t>Penobscot Job Corps Center</a:t>
            </a:r>
          </a:p>
          <a:p>
            <a:pPr marL="114300" indent="0">
              <a:buNone/>
            </a:pPr>
            <a:r>
              <a:rPr lang="en-US" sz="3200" b="1" dirty="0">
                <a:solidFill>
                  <a:schemeClr val="tx1"/>
                </a:solidFill>
              </a:rPr>
              <a:t>Center for Family Medicine</a:t>
            </a:r>
          </a:p>
          <a:p>
            <a:pPr marL="114300" indent="0">
              <a:buNone/>
            </a:pPr>
            <a:r>
              <a:rPr lang="en-US" sz="3200" b="1" dirty="0">
                <a:solidFill>
                  <a:schemeClr val="tx1"/>
                </a:solidFill>
              </a:rPr>
              <a:t>Eastern Maine Medical Center</a:t>
            </a:r>
          </a:p>
          <a:p>
            <a:pPr marL="114300" indent="0">
              <a:buNone/>
            </a:pPr>
            <a:r>
              <a:rPr lang="en-US" sz="3200" b="1" dirty="0">
                <a:solidFill>
                  <a:schemeClr val="tx1"/>
                </a:solidFill>
              </a:rPr>
              <a:t>Bangor, Maine</a:t>
            </a:r>
          </a:p>
        </p:txBody>
      </p:sp>
      <p:pic>
        <p:nvPicPr>
          <p:cNvPr id="1026" name="Picture 2" descr="Northern Light Eastern Maine Medical Center | Dr Careers">
            <a:extLst>
              <a:ext uri="{FF2B5EF4-FFF2-40B4-BE49-F238E27FC236}">
                <a16:creationId xmlns:a16="http://schemas.microsoft.com/office/drawing/2014/main" id="{341E458B-4F78-A4FD-18F9-A85DB81B33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3206" y="2622341"/>
            <a:ext cx="4298989" cy="2415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15208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5D9FEF-57B9-8E7E-31CE-2C79633BC7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Questions or comment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4F7E4A-AECC-0B9A-102C-ECFDE3EC69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1145" y="5773948"/>
            <a:ext cx="3861234" cy="631333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karen.hover@gmail.com</a:t>
            </a:r>
            <a:endParaRPr lang="en-US" dirty="0"/>
          </a:p>
        </p:txBody>
      </p:sp>
      <p:pic>
        <p:nvPicPr>
          <p:cNvPr id="5" name="Picture 4" descr="A person wearing a stethoscope&#10;&#10;Description automatically generated">
            <a:extLst>
              <a:ext uri="{FF2B5EF4-FFF2-40B4-BE49-F238E27FC236}">
                <a16:creationId xmlns:a16="http://schemas.microsoft.com/office/drawing/2014/main" id="{EFB73FA3-070F-A9DE-E003-92C64844BC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9837" y="1669211"/>
            <a:ext cx="7772400" cy="3519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2776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57401" y="1879601"/>
            <a:ext cx="6687207" cy="2356881"/>
          </a:xfrm>
        </p:spPr>
        <p:txBody>
          <a:bodyPr>
            <a:norm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4000" b="1" cap="small" spc="50" dirty="0"/>
              <a:t>Center Physician Call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4000" b="1" cap="small" spc="50" dirty="0"/>
              <a:t>July 26, 2023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4000" b="1" cap="small" spc="50" dirty="0"/>
              <a:t>Sara Mackenzie, MD, MPH </a:t>
            </a:r>
          </a:p>
        </p:txBody>
      </p:sp>
    </p:spTree>
    <p:extLst>
      <p:ext uri="{BB962C8B-B14F-4D97-AF65-F5344CB8AC3E}">
        <p14:creationId xmlns:p14="http://schemas.microsoft.com/office/powerpoint/2010/main" val="41768890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B05EFF-AA3D-4F05-9585-7A92AFC99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b="1">
                <a:latin typeface="+mj-lt"/>
                <a:ea typeface="+mj-ea"/>
                <a:cs typeface="+mj-cs"/>
              </a:rPr>
              <a:t>Heat-related illness 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4AB1BD0F-B7D8-3D80-B248-E3CD8A324F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291500" y="1538593"/>
            <a:ext cx="7609000" cy="43941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A26B602-89AD-60B2-A67C-12612444ED65}"/>
              </a:ext>
            </a:extLst>
          </p:cNvPr>
          <p:cNvSpPr txBox="1"/>
          <p:nvPr/>
        </p:nvSpPr>
        <p:spPr>
          <a:xfrm>
            <a:off x="2405063" y="6337720"/>
            <a:ext cx="45815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>
                <a:solidFill>
                  <a:prstClr val="white"/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at &amp; Health Tracker | Tracking | NCEH | CDC</a:t>
            </a:r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97264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Down Arrow 7">
            <a:extLst>
              <a:ext uri="{FF2B5EF4-FFF2-40B4-BE49-F238E27FC236}">
                <a16:creationId xmlns:a16="http://schemas.microsoft.com/office/drawing/2014/main" id="{D4771268-CB57-404A-9271-370EB28F60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707357" y="1928732"/>
            <a:ext cx="3333749" cy="2624327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00A17D5-9006-B802-A7D0-5EB4AF96671A}"/>
              </a:ext>
            </a:extLst>
          </p:cNvPr>
          <p:cNvSpPr txBox="1">
            <a:spLocks/>
          </p:cNvSpPr>
          <p:nvPr/>
        </p:nvSpPr>
        <p:spPr>
          <a:xfrm>
            <a:off x="2295526" y="1967267"/>
            <a:ext cx="1971675" cy="254725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bg1"/>
                </a:solidFill>
                <a:latin typeface="Avenir Medium" charset="0"/>
                <a:ea typeface="Avenir Medium" charset="0"/>
                <a:cs typeface="Avenir Medium" charset="0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3100" b="1">
                <a:solidFill>
                  <a:srgbClr val="FFFFFF"/>
                </a:solidFill>
                <a:latin typeface="Calibri Light"/>
                <a:ea typeface="+mj-ea"/>
                <a:cs typeface="+mj-cs"/>
              </a:rPr>
              <a:t>Heat-related illness </a:t>
            </a:r>
          </a:p>
        </p:txBody>
      </p:sp>
      <p:pic>
        <p:nvPicPr>
          <p:cNvPr id="1026" name="Picture 2" descr="Heat Related Illness">
            <a:extLst>
              <a:ext uri="{FF2B5EF4-FFF2-40B4-BE49-F238E27FC236}">
                <a16:creationId xmlns:a16="http://schemas.microsoft.com/office/drawing/2014/main" id="{2B6CD0E5-CA21-943D-0076-D7FFE3275E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05986" y="44719"/>
            <a:ext cx="4109546" cy="676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D34A922-F3D6-0EBE-A261-583DA2CABCBA}"/>
              </a:ext>
            </a:extLst>
          </p:cNvPr>
          <p:cNvSpPr txBox="1"/>
          <p:nvPr/>
        </p:nvSpPr>
        <p:spPr>
          <a:xfrm>
            <a:off x="325821" y="5682121"/>
            <a:ext cx="449842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prstClr val="white"/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arning Signs and Symptoms of Heat-Related Illness | Natural Disasters and Severe Weather CDC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598286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E39A5E-1587-E2D4-7808-C9ADD79B4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>
                <a:latin typeface="+mj-lt"/>
                <a:ea typeface="+mj-ea"/>
                <a:cs typeface="+mj-cs"/>
              </a:rPr>
              <a:t>AirNow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5F4A5B-121C-CA31-C717-7ED88850D4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1655" y="1734207"/>
            <a:ext cx="9012450" cy="419079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40D4AD8-283D-41B1-1629-6B73B824D6A4}"/>
              </a:ext>
            </a:extLst>
          </p:cNvPr>
          <p:cNvSpPr txBox="1"/>
          <p:nvPr/>
        </p:nvSpPr>
        <p:spPr>
          <a:xfrm>
            <a:off x="2720975" y="6171683"/>
            <a:ext cx="45783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prstClr val="white"/>
                </a:solidFill>
                <a:latin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irNow.gov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798286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D982F5-FF49-F537-7590-558C5A4A9D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>
                <a:latin typeface="+mj-lt"/>
                <a:ea typeface="+mj-ea"/>
                <a:cs typeface="+mj-cs"/>
              </a:rPr>
              <a:t>Air Qualit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42CD2A-F3E5-8BF6-0CE0-F99AB096EFBA}"/>
              </a:ext>
            </a:extLst>
          </p:cNvPr>
          <p:cNvSpPr txBox="1"/>
          <p:nvPr/>
        </p:nvSpPr>
        <p:spPr>
          <a:xfrm>
            <a:off x="2366963" y="6214533"/>
            <a:ext cx="45815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prstClr val="white"/>
                </a:solidFill>
                <a:latin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irNow</a:t>
            </a:r>
            <a:r>
              <a:rPr lang="en-US" dirty="0">
                <a:solidFill>
                  <a:prstClr val="white"/>
                </a:solidFill>
                <a:latin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Interactive Map (epa.gov)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979F16-D215-CF8F-9FA1-22F26B7FEF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441" y="1649575"/>
            <a:ext cx="10391142" cy="4194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2050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99ED5833-B85B-4103-8A3B-CAB0308E6C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1" y="0"/>
            <a:ext cx="914171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6D4DF6-0229-A032-F36A-7AF61D202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2636" y="560881"/>
            <a:ext cx="7346729" cy="733012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500" dirty="0">
                <a:latin typeface="+mj-lt"/>
                <a:ea typeface="+mj-ea"/>
                <a:cs typeface="+mj-cs"/>
              </a:rPr>
              <a:t>Physical activ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1D7B19-64EE-A7DD-862C-4D9955CEAE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255" y="1539239"/>
            <a:ext cx="5641906" cy="513413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0BD7631-4E30-0E5F-A17A-88A63CFD5D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6304" y="2364828"/>
            <a:ext cx="5430849" cy="265010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00D7CCB-A63C-B01E-121A-8E5AC9139568}"/>
              </a:ext>
            </a:extLst>
          </p:cNvPr>
          <p:cNvSpPr txBox="1"/>
          <p:nvPr/>
        </p:nvSpPr>
        <p:spPr>
          <a:xfrm>
            <a:off x="7662041" y="6304041"/>
            <a:ext cx="40207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u="sng" dirty="0">
                <a:solidFill>
                  <a:schemeClr val="bg1"/>
                </a:solidFill>
                <a:latin typeface="Calibri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uide</a:t>
            </a:r>
            <a:r>
              <a:rPr lang="en-US" u="sng" dirty="0">
                <a:solidFill>
                  <a:srgbClr val="0563C1"/>
                </a:solidFill>
                <a:latin typeface="Calibri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u="sng" dirty="0">
                <a:solidFill>
                  <a:schemeClr val="bg1"/>
                </a:solidFill>
                <a:latin typeface="Calibri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Schools | AirNow.gov</a:t>
            </a:r>
            <a:endParaRPr lang="en-US" u="sng" dirty="0">
              <a:solidFill>
                <a:schemeClr val="bg1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87884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7" name="Rectangle 2054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533043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692F2C-8487-195C-38B7-E3C9F5CFD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532214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Actions</a:t>
            </a:r>
          </a:p>
        </p:txBody>
      </p:sp>
      <p:pic>
        <p:nvPicPr>
          <p:cNvPr id="2050" name="Picture 2" descr="Protect Yourself From Wildfire Smoke. Keep Smoke Outside.">
            <a:extLst>
              <a:ext uri="{FF2B5EF4-FFF2-40B4-BE49-F238E27FC236}">
                <a16:creationId xmlns:a16="http://schemas.microsoft.com/office/drawing/2014/main" id="{A4ACDDC6-DAAB-7224-E0C1-0AB1A616AE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07329" y="364588"/>
            <a:ext cx="7777343" cy="4394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DCE9B2C-121D-83B4-C656-98FF2E716D66}"/>
              </a:ext>
            </a:extLst>
          </p:cNvPr>
          <p:cNvSpPr txBox="1"/>
          <p:nvPr/>
        </p:nvSpPr>
        <p:spPr>
          <a:xfrm>
            <a:off x="1941399" y="6261012"/>
            <a:ext cx="45815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prstClr val="white"/>
                </a:solidFill>
                <a:latin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ir Quality | Air | CDC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601680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C Recommendations for skin </a:t>
            </a:r>
            <a:r>
              <a:rPr lang="en-US"/>
              <a:t>cancer prevention:</a:t>
            </a:r>
            <a:endParaRPr lang="en-US" dirty="0"/>
          </a:p>
        </p:txBody>
      </p:sp>
      <p:sp>
        <p:nvSpPr>
          <p:cNvPr id="2560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Stay in the shade, especially during midday hours from 10 am to 4 pm DST.</a:t>
            </a:r>
          </a:p>
          <a:p>
            <a:r>
              <a:rPr lang="en-US" dirty="0"/>
              <a:t>Wear clothing that covers your arms and legs. </a:t>
            </a:r>
          </a:p>
          <a:p>
            <a:r>
              <a:rPr lang="en-US" dirty="0"/>
              <a:t>Wear a hat with a wide brim to shade your face, head, ears, and neck.</a:t>
            </a:r>
          </a:p>
          <a:p>
            <a:r>
              <a:rPr lang="en-US" dirty="0"/>
              <a:t>Wear sunglasses that wrap around and block both UVA and UVB rays.</a:t>
            </a:r>
          </a:p>
          <a:p>
            <a:r>
              <a:rPr lang="en-US" dirty="0"/>
              <a:t>Use broad-spectrum sunscreen with sun protection factor (SPF) 15 or higher, and both UVA and UVB protection.</a:t>
            </a:r>
          </a:p>
          <a:p>
            <a:r>
              <a:rPr lang="en-US" dirty="0"/>
              <a:t>Avoid indoor tanning.</a:t>
            </a:r>
          </a:p>
          <a:p>
            <a:pPr marL="0" indent="0" algn="r">
              <a:buNone/>
            </a:pPr>
            <a:r>
              <a:rPr lang="en-US" dirty="0">
                <a:solidFill>
                  <a:srgbClr val="FFFF0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cdc.gov/cancer/skin/basic_info/prevention.htm</a:t>
            </a:r>
            <a:endParaRPr lang="en-US" dirty="0">
              <a:solidFill>
                <a:srgbClr val="FFFF00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953309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F04A48-B630-1D17-CC5F-A9F33BC5D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Center Physician’s Desk Reference Gu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D9ED9-0210-390E-3CB1-4403A28847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9843" y="2199735"/>
            <a:ext cx="10672313" cy="4580627"/>
          </a:xfrm>
        </p:spPr>
        <p:txBody>
          <a:bodyPr/>
          <a:lstStyle/>
          <a:p>
            <a:pPr marL="50800" indent="0">
              <a:buNone/>
            </a:pPr>
            <a:endParaRPr lang="en-US" dirty="0"/>
          </a:p>
          <a:p>
            <a:pPr marL="50800" indent="0">
              <a:buNone/>
            </a:pPr>
            <a:endParaRPr lang="en-US" dirty="0"/>
          </a:p>
          <a:p>
            <a:pPr marL="50800" indent="0">
              <a:buNone/>
            </a:pPr>
            <a:endParaRPr lang="en-US" dirty="0"/>
          </a:p>
          <a:p>
            <a:pPr marL="50800" indent="0">
              <a:buNone/>
            </a:pPr>
            <a:endParaRPr lang="en-US" dirty="0"/>
          </a:p>
          <a:p>
            <a:pPr marL="50800" indent="0">
              <a:buNone/>
            </a:pPr>
            <a:endParaRPr lang="en-US" dirty="0"/>
          </a:p>
          <a:p>
            <a:pPr marL="50800" indent="0">
              <a:buNone/>
            </a:pPr>
            <a:endParaRPr lang="en-US" dirty="0"/>
          </a:p>
          <a:p>
            <a:pPr marL="50800" indent="0">
              <a:buNone/>
            </a:pPr>
            <a:endParaRPr lang="en-US" dirty="0"/>
          </a:p>
          <a:p>
            <a:pPr marL="50800" indent="0">
              <a:buNone/>
            </a:pPr>
            <a:r>
              <a:rPr lang="en-US" dirty="0"/>
              <a:t>   </a:t>
            </a:r>
            <a:endParaRPr lang="en-US" u="sng" dirty="0">
              <a:solidFill>
                <a:srgbClr val="0000FF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0A2753-BB2A-9337-89B7-631847E586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7533" y="1534359"/>
            <a:ext cx="9951199" cy="50475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6BBFB30-D7A9-FE6F-87A2-59C543E4D9F3}"/>
              </a:ext>
            </a:extLst>
          </p:cNvPr>
          <p:cNvSpPr txBox="1"/>
          <p:nvPr/>
        </p:nvSpPr>
        <p:spPr>
          <a:xfrm>
            <a:off x="5417388" y="5995358"/>
            <a:ext cx="361446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u="sng" dirty="0">
                <a:solidFill>
                  <a:srgbClr val="0000FF"/>
                </a:solidFill>
              </a:rPr>
              <a:t>https://supportservices.jobcorps.gov/health/Pages/default.aspx</a:t>
            </a:r>
            <a:endParaRPr lang="en-US" sz="1400" dirty="0"/>
          </a:p>
        </p:txBody>
      </p:sp>
      <p:sp>
        <p:nvSpPr>
          <p:cNvPr id="9" name="Arrow: Left 8">
            <a:extLst>
              <a:ext uri="{FF2B5EF4-FFF2-40B4-BE49-F238E27FC236}">
                <a16:creationId xmlns:a16="http://schemas.microsoft.com/office/drawing/2014/main" id="{9E163409-E1B1-8D84-27A6-3B8B9087A567}"/>
              </a:ext>
            </a:extLst>
          </p:cNvPr>
          <p:cNvSpPr/>
          <p:nvPr/>
        </p:nvSpPr>
        <p:spPr>
          <a:xfrm flipV="1">
            <a:off x="7651630" y="3651963"/>
            <a:ext cx="552091" cy="307562"/>
          </a:xfrm>
          <a:prstGeom prst="left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8582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993B7-4A9B-E93E-342F-9936B55C3F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203200"/>
            <a:ext cx="9404723" cy="1650048"/>
          </a:xfrm>
        </p:spPr>
        <p:txBody>
          <a:bodyPr/>
          <a:lstStyle/>
          <a:p>
            <a:pPr algn="ctr"/>
            <a:r>
              <a:rPr lang="en-US" dirty="0"/>
              <a:t>A Quality Improvement Project at </a:t>
            </a:r>
            <a:br>
              <a:rPr lang="en-US" dirty="0"/>
            </a:br>
            <a:r>
              <a:rPr lang="en-US" dirty="0"/>
              <a:t>Penobscot Job Corps Academy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2BACE63-AB3E-F364-483F-29CC3CD6A35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646111" y="2064669"/>
            <a:ext cx="8426295" cy="4195762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FD1FA2B-A170-BD0C-C17E-AB4733B08D32}"/>
              </a:ext>
            </a:extLst>
          </p:cNvPr>
          <p:cNvSpPr txBox="1"/>
          <p:nvPr/>
        </p:nvSpPr>
        <p:spPr>
          <a:xfrm>
            <a:off x="9541042" y="3285387"/>
            <a:ext cx="214162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senter  </a:t>
            </a:r>
          </a:p>
          <a:p>
            <a:r>
              <a:rPr lang="en-US" dirty="0"/>
              <a:t>Karen Hover MD</a:t>
            </a:r>
          </a:p>
          <a:p>
            <a:endParaRPr lang="en-US" dirty="0"/>
          </a:p>
          <a:p>
            <a:r>
              <a:rPr lang="en-US" dirty="0"/>
              <a:t>With help from  </a:t>
            </a:r>
          </a:p>
          <a:p>
            <a:r>
              <a:rPr lang="en-US" dirty="0"/>
              <a:t>Sara Mackenzie MD, MPH</a:t>
            </a:r>
          </a:p>
          <a:p>
            <a:endParaRPr lang="en-US" dirty="0"/>
          </a:p>
          <a:p>
            <a:r>
              <a:rPr lang="en-US" dirty="0"/>
              <a:t>July 26, 2023</a:t>
            </a:r>
          </a:p>
        </p:txBody>
      </p:sp>
    </p:spTree>
    <p:extLst>
      <p:ext uri="{BB962C8B-B14F-4D97-AF65-F5344CB8AC3E}">
        <p14:creationId xmlns:p14="http://schemas.microsoft.com/office/powerpoint/2010/main" val="26377620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F04A48-B630-1D17-CC5F-A9F33BC5D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Nonalcoholic fatty liver disease (NAFLD)</a:t>
            </a:r>
            <a:br>
              <a:rPr lang="en-US" dirty="0">
                <a:solidFill>
                  <a:srgbClr val="C00000"/>
                </a:solidFill>
              </a:rPr>
            </a:br>
            <a:r>
              <a:rPr lang="en-US" dirty="0">
                <a:solidFill>
                  <a:srgbClr val="C00000"/>
                </a:solidFill>
              </a:rPr>
              <a:t>Nonalcoholic steatohepatitis (NASH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D9ED9-0210-390E-3CB1-4403A28847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8355" y="1825625"/>
            <a:ext cx="10972800" cy="4351338"/>
          </a:xfrm>
        </p:spPr>
        <p:txBody>
          <a:bodyPr/>
          <a:lstStyle/>
          <a:p>
            <a:pPr marL="50800" indent="0">
              <a:buNone/>
            </a:pPr>
            <a:r>
              <a:rPr lang="en-US" dirty="0"/>
              <a:t>New nomenclature adopted by a global consensus panel of hepatologists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etabolic dysfunction–associated </a:t>
            </a:r>
            <a:r>
              <a:rPr lang="en-US" sz="2400" kern="0" dirty="0" err="1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teatotic</a:t>
            </a:r>
            <a:r>
              <a:rPr lang="en-US" sz="24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liver disease (MASLD) will replace NAFL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etabolic dysfunction–associated steatohepatitis (MASH) will replace NAS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22222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erms such as “nonalcoholic” and “fatty” are considered stigmatizing</a:t>
            </a:r>
            <a:endParaRPr lang="en-US" sz="2400" kern="0" dirty="0">
              <a:solidFill>
                <a:srgbClr val="222222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98% of people registered in a European NAFLD cohort would meet the new criteria for MASLD</a:t>
            </a:r>
            <a:endParaRPr lang="en-US" sz="2400" dirty="0"/>
          </a:p>
          <a:p>
            <a:pPr marL="50800" indent="0">
              <a:buNone/>
            </a:pPr>
            <a:r>
              <a:rPr lang="en-US" dirty="0"/>
              <a:t>Diagnostic criteria:</a:t>
            </a:r>
          </a:p>
          <a:p>
            <a:r>
              <a:rPr lang="en-US" sz="2400" dirty="0">
                <a:solidFill>
                  <a:srgbClr val="222222"/>
                </a:solidFill>
                <a:latin typeface="Arial" panose="020B0604020202020204" pitchFamily="34" charset="0"/>
              </a:rPr>
              <a:t>MASLD must have a cardiometabolic risk factor such as type 2 diabetes</a:t>
            </a:r>
          </a:p>
          <a:p>
            <a:pPr marL="5080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6326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F04A48-B630-1D17-CC5F-A9F33BC5D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Classification of obes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D9ED9-0210-390E-3CB1-4403A28847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dy mass index (BMI)</a:t>
            </a:r>
          </a:p>
          <a:p>
            <a:pPr lvl="1"/>
            <a:r>
              <a:rPr lang="en-US" sz="2800" dirty="0"/>
              <a:t>class 1 obesity – BMI 30 to &lt; 35</a:t>
            </a:r>
          </a:p>
          <a:p>
            <a:pPr lvl="1"/>
            <a:r>
              <a:rPr lang="en-US" sz="2800" dirty="0"/>
              <a:t>class 2 obesity – BMI 35 to &lt; 40</a:t>
            </a:r>
          </a:p>
          <a:p>
            <a:pPr lvl="1"/>
            <a:r>
              <a:rPr lang="en-US" sz="2800" dirty="0"/>
              <a:t>class 3 obesity – BMI </a:t>
            </a:r>
            <a:r>
              <a:rPr lang="en-US" sz="2800" u="sng" dirty="0"/>
              <a:t>&gt;</a:t>
            </a:r>
            <a:r>
              <a:rPr lang="en-US" sz="2800" dirty="0"/>
              <a:t> 40 – </a:t>
            </a:r>
            <a:r>
              <a:rPr lang="en-US" sz="2800"/>
              <a:t>“extreme” </a:t>
            </a:r>
            <a:r>
              <a:rPr lang="en-US" sz="2800" dirty="0"/>
              <a:t>not “morbid”</a:t>
            </a:r>
          </a:p>
          <a:p>
            <a:r>
              <a:rPr lang="en-US" dirty="0"/>
              <a:t>Waist circumference</a:t>
            </a:r>
          </a:p>
          <a:p>
            <a:pPr lvl="1"/>
            <a:r>
              <a:rPr lang="en-US" sz="2800" dirty="0"/>
              <a:t>adult men &gt; 40 in/ &gt; 102 cm</a:t>
            </a:r>
          </a:p>
          <a:p>
            <a:pPr lvl="1"/>
            <a:r>
              <a:rPr lang="en-US" sz="2800" dirty="0"/>
              <a:t>adult women &gt; 35 in/ &gt; 88 cm</a:t>
            </a:r>
          </a:p>
        </p:txBody>
      </p:sp>
    </p:spTree>
    <p:extLst>
      <p:ext uri="{BB962C8B-B14F-4D97-AF65-F5344CB8AC3E}">
        <p14:creationId xmlns:p14="http://schemas.microsoft.com/office/powerpoint/2010/main" val="13387983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F04A48-B630-1D17-CC5F-A9F33BC5D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Laboratory studies </a:t>
            </a:r>
            <a:r>
              <a:rPr lang="en-US">
                <a:solidFill>
                  <a:srgbClr val="C00000"/>
                </a:solidFill>
              </a:rPr>
              <a:t>for obesity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D9ED9-0210-390E-3CB1-4403A28847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Fasting lipid panel - cholesterol, triglycerides, HDL, LDL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Liver function studies - transaminase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Thyroid function test - TSH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Fasting glucose and hemoglobin A1c (HbA1c)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en-US" dirty="0">
              <a:solidFill>
                <a:srgbClr val="202124"/>
              </a:solidFill>
              <a:latin typeface="Google Sans"/>
            </a:endParaRPr>
          </a:p>
          <a:p>
            <a:pPr marL="50800" indent="0" algn="l">
              <a:buNone/>
            </a:pPr>
            <a:r>
              <a:rPr lang="en-US" b="0" i="0" dirty="0">
                <a:solidFill>
                  <a:srgbClr val="202124"/>
                </a:solidFill>
                <a:effectLst/>
                <a:latin typeface="Google Sans"/>
              </a:rPr>
              <a:t>All obese Job Corps students should be enrolled in case management on center and encouraged to participate in the Weight Management Program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15139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F04A48-B630-1D17-CC5F-A9F33BC5D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Molluscum contagiosum</a:t>
            </a:r>
          </a:p>
        </p:txBody>
      </p:sp>
      <p:pic>
        <p:nvPicPr>
          <p:cNvPr id="5" name="Content Placeholder 4" descr="Close-up of a skin with multiple papillomavirus blisters&#10;&#10;Description automatically generated">
            <a:extLst>
              <a:ext uri="{FF2B5EF4-FFF2-40B4-BE49-F238E27FC236}">
                <a16:creationId xmlns:a16="http://schemas.microsoft.com/office/drawing/2014/main" id="{CD547F0C-85FC-DD47-2157-48478F66FA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884" y="1929534"/>
            <a:ext cx="3413396" cy="4351338"/>
          </a:xfr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476B623-3004-A5B4-AA52-CBC2B324A6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878" y="4269018"/>
            <a:ext cx="6596444" cy="2011854"/>
          </a:xfrm>
          <a:prstGeom prst="rect">
            <a:avLst/>
          </a:prstGeom>
        </p:spPr>
      </p:pic>
      <p:pic>
        <p:nvPicPr>
          <p:cNvPr id="1030" name="Picture 6" descr="Image result for molluscum contagiosum">
            <a:extLst>
              <a:ext uri="{FF2B5EF4-FFF2-40B4-BE49-F238E27FC236}">
                <a16:creationId xmlns:a16="http://schemas.microsoft.com/office/drawing/2014/main" id="{C43B622E-70DC-BF31-E604-42BA373CE5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878" y="2019660"/>
            <a:ext cx="2943225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molluscum contagiosum">
            <a:extLst>
              <a:ext uri="{FF2B5EF4-FFF2-40B4-BE49-F238E27FC236}">
                <a16:creationId xmlns:a16="http://schemas.microsoft.com/office/drawing/2014/main" id="{39C16622-DD20-1161-8E99-3A7885EFA8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0142" y="2019659"/>
            <a:ext cx="2819667" cy="1935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48867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F04A48-B630-1D17-CC5F-A9F33BC5D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Molluscum contagiosum treat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D9ED9-0210-390E-3CB1-4403A28847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en-US" sz="3200" dirty="0"/>
              <a:t>Natural history</a:t>
            </a:r>
          </a:p>
          <a:p>
            <a:r>
              <a:rPr lang="en-US" sz="3200" dirty="0"/>
              <a:t>spontaneous resolution in 6-12 months</a:t>
            </a:r>
          </a:p>
          <a:p>
            <a:pPr marL="50800" indent="0">
              <a:buNone/>
            </a:pPr>
            <a:r>
              <a:rPr lang="en-US" sz="3200" dirty="0"/>
              <a:t>Topical medications</a:t>
            </a:r>
          </a:p>
          <a:p>
            <a:r>
              <a:rPr lang="en-US" sz="3200" dirty="0"/>
              <a:t>salicylic acid, potassium hydroxide, retinoids (tretinoin, adapalene)</a:t>
            </a:r>
          </a:p>
          <a:p>
            <a:pPr marL="50800" indent="0">
              <a:buNone/>
            </a:pPr>
            <a:r>
              <a:rPr lang="en-US" sz="3200" dirty="0"/>
              <a:t>Physical methods</a:t>
            </a:r>
          </a:p>
          <a:p>
            <a:r>
              <a:rPr lang="en-US" sz="3200" dirty="0"/>
              <a:t>curettage, cryotherapy, laser therapy </a:t>
            </a:r>
          </a:p>
        </p:txBody>
      </p:sp>
    </p:spTree>
    <p:extLst>
      <p:ext uri="{BB962C8B-B14F-4D97-AF65-F5344CB8AC3E}">
        <p14:creationId xmlns:p14="http://schemas.microsoft.com/office/powerpoint/2010/main" val="280026615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F04A48-B630-1D17-CC5F-A9F33BC5D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Molluscum contagiosum</a:t>
            </a:r>
            <a:br>
              <a:rPr lang="en-US" dirty="0">
                <a:solidFill>
                  <a:srgbClr val="C00000"/>
                </a:solidFill>
              </a:rPr>
            </a:br>
            <a:r>
              <a:rPr lang="en-US" dirty="0">
                <a:solidFill>
                  <a:srgbClr val="C00000"/>
                </a:solidFill>
              </a:rPr>
              <a:t>First FDA-approved treat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D9ED9-0210-390E-3CB1-4403A28847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310" y="1825625"/>
            <a:ext cx="7585164" cy="4667250"/>
          </a:xfrm>
        </p:spPr>
        <p:txBody>
          <a:bodyPr/>
          <a:lstStyle/>
          <a:p>
            <a:r>
              <a:rPr lang="en-US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DA has approved </a:t>
            </a:r>
            <a:r>
              <a:rPr lang="en-US" b="0" i="0" dirty="0" err="1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Ycanth</a:t>
            </a:r>
            <a:r>
              <a:rPr lang="en-US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(cantharidin) </a:t>
            </a:r>
            <a:r>
              <a:rPr lang="en-US" b="0" i="0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or the </a:t>
            </a:r>
            <a:r>
              <a:rPr lang="en-US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opical treatment of molluscum contagiosum in adult and pediatric patients 2 years of age and older. </a:t>
            </a:r>
          </a:p>
          <a:p>
            <a:r>
              <a:rPr lang="en-US" b="0" i="0" dirty="0" err="1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Ycanth</a:t>
            </a:r>
            <a:r>
              <a:rPr lang="en-US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is administered to patients only by health care providers. Providers apply a single application of </a:t>
            </a:r>
            <a:r>
              <a:rPr lang="en-US" b="0" i="0" dirty="0" err="1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Ycanth</a:t>
            </a:r>
            <a:r>
              <a:rPr lang="en-US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on the areas of patients’ skin with molluscum bumps every 21 days as needed – maximum of 4 applications – 54% with complete clearance vs 15% with vehicle alone at 84 days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74" name="Picture 2" descr="Ycanth, a Drug-Device Combo for Molluscum Contagiosum, Gets Approval">
            <a:extLst>
              <a:ext uri="{FF2B5EF4-FFF2-40B4-BE49-F238E27FC236}">
                <a16:creationId xmlns:a16="http://schemas.microsoft.com/office/drawing/2014/main" id="{67AD00BA-9388-458C-689A-02F2D75A23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9832" y="2769326"/>
            <a:ext cx="4132168" cy="2920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494868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F04A48-B630-1D17-CC5F-A9F33BC5D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727" y="278861"/>
            <a:ext cx="10955547" cy="1325563"/>
          </a:xfrm>
        </p:spPr>
        <p:txBody>
          <a:bodyPr/>
          <a:lstStyle/>
          <a:p>
            <a:r>
              <a:rPr lang="en-US" sz="4000" dirty="0">
                <a:solidFill>
                  <a:srgbClr val="C00000"/>
                </a:solidFill>
              </a:rPr>
              <a:t>Reactive infectious mucocutaneous eruption (RIME)</a:t>
            </a:r>
            <a:endParaRPr lang="en-US" sz="4000" b="0" i="0" u="sng" dirty="0">
              <a:solidFill>
                <a:srgbClr val="C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D9ED9-0210-390E-3CB1-4403A28847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727" y="1825625"/>
            <a:ext cx="7353293" cy="4351338"/>
          </a:xfrm>
        </p:spPr>
        <p:txBody>
          <a:bodyPr/>
          <a:lstStyle/>
          <a:p>
            <a:r>
              <a:rPr lang="en-US" dirty="0"/>
              <a:t>oral, ocular, genitourinary mucosal ulceration, </a:t>
            </a:r>
          </a:p>
          <a:p>
            <a:pPr marL="50800" indent="0">
              <a:buNone/>
            </a:pPr>
            <a:r>
              <a:rPr lang="en-US" dirty="0"/>
              <a:t>     with or without rash </a:t>
            </a:r>
          </a:p>
          <a:p>
            <a:r>
              <a:rPr lang="en-US" dirty="0"/>
              <a:t>typically follows respiratory infection caused </a:t>
            </a:r>
          </a:p>
          <a:p>
            <a:pPr marL="50800" indent="0">
              <a:buNone/>
            </a:pPr>
            <a:r>
              <a:rPr lang="en-US" dirty="0"/>
              <a:t>     by Mycoplasma, </a:t>
            </a:r>
            <a:r>
              <a:rPr lang="en-US" dirty="0" err="1"/>
              <a:t>Chlamydophilia</a:t>
            </a:r>
            <a:r>
              <a:rPr lang="en-US" dirty="0"/>
              <a:t>, and multiple</a:t>
            </a:r>
          </a:p>
          <a:p>
            <a:pPr marL="50800" indent="0">
              <a:buNone/>
            </a:pPr>
            <a:r>
              <a:rPr lang="en-US" dirty="0"/>
              <a:t>     viruses including influenza and SARS-CoV-2</a:t>
            </a:r>
          </a:p>
          <a:p>
            <a:r>
              <a:rPr lang="en-US" dirty="0"/>
              <a:t>supportive treatment</a:t>
            </a:r>
          </a:p>
          <a:p>
            <a:r>
              <a:rPr lang="en-US" dirty="0"/>
              <a:t>may </a:t>
            </a:r>
            <a:r>
              <a:rPr lang="en-US"/>
              <a:t>become recurrent</a:t>
            </a:r>
            <a:endParaRPr lang="en-US" dirty="0"/>
          </a:p>
        </p:txBody>
      </p:sp>
      <p:pic>
        <p:nvPicPr>
          <p:cNvPr id="1028" name="Picture 4" descr="Mycoplasma pneumoniae-Induced Rash and Mucositis (MIRM) Mimicking Behçet's  Disease and Paraneoplastic Pemphigus (PNP)">
            <a:extLst>
              <a:ext uri="{FF2B5EF4-FFF2-40B4-BE49-F238E27FC236}">
                <a16:creationId xmlns:a16="http://schemas.microsoft.com/office/drawing/2014/main" id="{B3DD73DA-5849-9AA9-E29A-E804BF24F0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6467" y="2756185"/>
            <a:ext cx="3840015" cy="2784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eports | Free Full-Text | Reactive Infectious Mucosal Eruptions (RIME)  Secondary to Chlamydia pneumoniae Infection">
            <a:extLst>
              <a:ext uri="{FF2B5EF4-FFF2-40B4-BE49-F238E27FC236}">
                <a16:creationId xmlns:a16="http://schemas.microsoft.com/office/drawing/2014/main" id="{256D75F1-FCDD-E816-75A7-B39D7F5771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129" y="4582275"/>
            <a:ext cx="2773322" cy="2121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171118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F97B6-D016-4ADF-8C80-E3064A140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Open For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7713D7-D4A4-4D8E-BC25-240EEA3C7F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66491"/>
            <a:ext cx="10515600" cy="4209690"/>
          </a:xfrm>
        </p:spPr>
        <p:txBody>
          <a:bodyPr/>
          <a:lstStyle/>
          <a:p>
            <a:pPr marL="11430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DFE7E3-72FC-4992-A8AB-1C48128067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3625" y="1599351"/>
            <a:ext cx="4231019" cy="19201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565FC6F-562D-4D2B-B587-E14F2EF8DA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0142" y="3698496"/>
            <a:ext cx="2459765" cy="18448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8865106-F037-43B7-88A3-4CAEC9476E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0" y="1599351"/>
            <a:ext cx="5147105" cy="3943969"/>
          </a:xfrm>
          <a:prstGeom prst="rect">
            <a:avLst/>
          </a:prstGeom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B06373DF-2DEF-4D08-A012-91252A8E44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2192000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E1A2A39F-35C6-4A2F-81AD-9474589D8F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3120" y="5946486"/>
            <a:ext cx="5135068" cy="40011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urveymonkey.com/r/</a:t>
            </a:r>
            <a:r>
              <a:rPr lang="en-US" sz="2000" b="1" i="0" dirty="0">
                <a:solidFill>
                  <a:srgbClr val="C00000"/>
                </a:solidFill>
                <a:effectLst/>
                <a:latin typeface="Calibri" panose="020F05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XQLN9B</a:t>
            </a:r>
            <a:endParaRPr kumimoji="0" lang="en-US" altLang="en-US" sz="2000" b="1" i="0" u="sng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680014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27"/>
          <p:cNvSpPr txBox="1">
            <a:spLocks noGrp="1"/>
          </p:cNvSpPr>
          <p:nvPr>
            <p:ph type="ctrTitle"/>
          </p:nvPr>
        </p:nvSpPr>
        <p:spPr>
          <a:xfrm>
            <a:off x="232913" y="543465"/>
            <a:ext cx="11688793" cy="2433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/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Job Corps Center Physician</a:t>
            </a: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M</a:t>
            </a:r>
            <a:r>
              <a:rPr lang="en-US" sz="4800" b="1" dirty="0">
                <a:solidFill>
                  <a:srgbClr val="C00000"/>
                </a:solidFill>
              </a:rPr>
              <a:t>onthly Teleconference</a:t>
            </a:r>
            <a:br>
              <a:rPr lang="en-US" sz="4800" b="1" dirty="0">
                <a:solidFill>
                  <a:srgbClr val="C00000"/>
                </a:solidFill>
              </a:rPr>
            </a:br>
            <a:r>
              <a:rPr lang="en-US" sz="4000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Next call: Wednesday, August 30</a:t>
            </a:r>
            <a:r>
              <a:rPr lang="en-US" sz="4000" b="1" baseline="30000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th</a:t>
            </a:r>
            <a:r>
              <a:rPr lang="en-US" sz="4000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, 2023</a:t>
            </a:r>
            <a:br>
              <a:rPr lang="en-US" sz="4000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000" b="1" dirty="0">
                <a:solidFill>
                  <a:srgbClr val="00B050"/>
                </a:solidFill>
                <a:latin typeface="Calibri"/>
                <a:ea typeface="Calibri"/>
                <a:cs typeface="Calibri"/>
                <a:sym typeface="Calibri"/>
              </a:rPr>
              <a:t>Note 5</a:t>
            </a:r>
            <a:r>
              <a:rPr lang="en-US" sz="4000" b="1" baseline="30000" dirty="0">
                <a:solidFill>
                  <a:srgbClr val="00B050"/>
                </a:solidFill>
                <a:latin typeface="Calibri"/>
                <a:ea typeface="Calibri"/>
                <a:cs typeface="Calibri"/>
                <a:sym typeface="Calibri"/>
              </a:rPr>
              <a:t>th</a:t>
            </a:r>
            <a:r>
              <a:rPr lang="en-US" sz="4000" b="1" dirty="0">
                <a:solidFill>
                  <a:srgbClr val="00B050"/>
                </a:solidFill>
                <a:latin typeface="Calibri"/>
                <a:ea typeface="Calibri"/>
                <a:cs typeface="Calibri"/>
                <a:sym typeface="Calibri"/>
              </a:rPr>
              <a:t> Wednesday of the month</a:t>
            </a:r>
            <a:endParaRPr dirty="0">
              <a:solidFill>
                <a:srgbClr val="00B050"/>
              </a:solidFill>
            </a:endParaRPr>
          </a:p>
        </p:txBody>
      </p:sp>
      <p:sp>
        <p:nvSpPr>
          <p:cNvPr id="177" name="Google Shape;177;p27"/>
          <p:cNvSpPr txBox="1">
            <a:spLocks noGrp="1"/>
          </p:cNvSpPr>
          <p:nvPr>
            <p:ph type="subTitle" idx="1"/>
          </p:nvPr>
        </p:nvSpPr>
        <p:spPr>
          <a:xfrm>
            <a:off x="388189" y="5467350"/>
            <a:ext cx="11369615" cy="1157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952146-17B2-4F52-9C99-D67B6BA2B9B1}"/>
              </a:ext>
            </a:extLst>
          </p:cNvPr>
          <p:cNvSpPr txBox="1"/>
          <p:nvPr/>
        </p:nvSpPr>
        <p:spPr>
          <a:xfrm>
            <a:off x="1390650" y="3290977"/>
            <a:ext cx="992504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3700"/>
              <a:buFontTx/>
              <a:buNone/>
              <a:tabLst>
                <a:tab pos="4114800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John Kulig MD MPH      	Region 1 Boston &amp; Region 2 Philadelph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3700"/>
              <a:buFontTx/>
              <a:buNone/>
              <a:tabLst>
                <a:tab pos="4114800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ara Mackenzie MD MPH	Region 6 San Francis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3700"/>
              <a:buFontTx/>
              <a:buNone/>
              <a:tabLst>
                <a:tab pos="4114800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rew Alexander MD     	Region 4 Dall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3700"/>
              <a:buFontTx/>
              <a:buNone/>
              <a:tabLst>
                <a:tab pos="4114800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Gary Strokosch MD       	Region 3 Atlanta &amp; Region 5 Chicag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3700"/>
              <a:buFontTx/>
              <a:buNone/>
              <a:tabLst>
                <a:tab pos="4114800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HIPAA compliant messages    	use @jobcorps.org email address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6CBD06-88D1-44E9-ABA9-DA54FBBB33E1}"/>
              </a:ext>
            </a:extLst>
          </p:cNvPr>
          <p:cNvSpPr txBox="1"/>
          <p:nvPr/>
        </p:nvSpPr>
        <p:spPr>
          <a:xfrm>
            <a:off x="3094354" y="6156188"/>
            <a:ext cx="520730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urveymonkey.com/r</a:t>
            </a:r>
            <a:r>
              <a:rPr kumimoji="0" lang="en-US" altLang="en-US" sz="2000" b="1" i="0" u="sng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sz="2000" b="1" i="0" dirty="0">
                <a:solidFill>
                  <a:srgbClr val="C00000"/>
                </a:solidFill>
                <a:effectLst/>
                <a:latin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XQLN9B</a:t>
            </a:r>
            <a:endParaRPr kumimoji="0" lang="en-US" altLang="en-US" sz="2000" b="1" i="0" u="sng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72934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C044B2-2026-0087-5753-9995D17FD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800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28DFA6-E2A9-2147-EB51-E6C1DB74C1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3200" dirty="0"/>
              <a:t>History of this project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The problem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Literature review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Choosing a plan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Implementation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/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16934287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8">
            <a:extLst>
              <a:ext uri="{FF2B5EF4-FFF2-40B4-BE49-F238E27FC236}">
                <a16:creationId xmlns:a16="http://schemas.microsoft.com/office/drawing/2014/main" id="{C8A3C342-1D03-412F-8DD3-BF519E8E0A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17D498-5975-5A21-D4A4-E20A2DE3A4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0" y="629266"/>
            <a:ext cx="6188190" cy="1622321"/>
          </a:xfrm>
        </p:spPr>
        <p:txBody>
          <a:bodyPr>
            <a:normAutofit/>
          </a:bodyPr>
          <a:lstStyle/>
          <a:p>
            <a:pPr algn="ctr"/>
            <a:r>
              <a:rPr lang="en-US" sz="5400" dirty="0">
                <a:solidFill>
                  <a:srgbClr val="EBEBEB"/>
                </a:solidFill>
              </a:rPr>
              <a:t>Histo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6E0F5C3-4C2C-9F02-4D4C-3CABC15974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893" y="1975136"/>
            <a:ext cx="6188189" cy="3785419"/>
          </a:xfrm>
        </p:spPr>
        <p:txBody>
          <a:bodyPr>
            <a:no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3200" dirty="0">
                <a:solidFill>
                  <a:srgbClr val="FFFFFF"/>
                </a:solidFill>
              </a:rPr>
              <a:t>Almost completely new team (mental health lead, 4 nurses, wellness director, unit secretary, dentist, TEAP coordinator, center director).</a:t>
            </a:r>
          </a:p>
          <a:p>
            <a:pPr>
              <a:buFont typeface="Wingdings" pitchFamily="2" charset="2"/>
              <a:buChar char="§"/>
            </a:pPr>
            <a:r>
              <a:rPr lang="en-US" sz="3200" dirty="0">
                <a:solidFill>
                  <a:srgbClr val="FFFFFF"/>
                </a:solidFill>
              </a:rPr>
              <a:t>Covid 19 introduced new challenges.</a:t>
            </a:r>
          </a:p>
          <a:p>
            <a:pPr marL="0" indent="0">
              <a:buNone/>
            </a:pP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16" name="Freeform 31">
            <a:extLst>
              <a:ext uri="{FF2B5EF4-FFF2-40B4-BE49-F238E27FC236}">
                <a16:creationId xmlns:a16="http://schemas.microsoft.com/office/drawing/2014/main" id="{81CC9B02-E087-4350-AEBD-2C3CF001AF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015974" y="-1"/>
            <a:ext cx="559472" cy="3709642"/>
          </a:xfrm>
          <a:custGeom>
            <a:avLst/>
            <a:gdLst>
              <a:gd name="connsiteX0" fmla="*/ 0 w 559472"/>
              <a:gd name="connsiteY0" fmla="*/ 0 h 3709642"/>
              <a:gd name="connsiteX1" fmla="*/ 473952 w 559472"/>
              <a:gd name="connsiteY1" fmla="*/ 0 h 3709642"/>
              <a:gd name="connsiteX2" fmla="*/ 485840 w 559472"/>
              <a:gd name="connsiteY2" fmla="*/ 161194 h 3709642"/>
              <a:gd name="connsiteX3" fmla="*/ 523949 w 559472"/>
              <a:gd name="connsiteY3" fmla="*/ 3672197 h 3709642"/>
              <a:gd name="connsiteX4" fmla="*/ 454748 w 559472"/>
              <a:gd name="connsiteY4" fmla="*/ 3709642 h 3709642"/>
              <a:gd name="connsiteX5" fmla="*/ 448224 w 559472"/>
              <a:gd name="connsiteY5" fmla="*/ 3510471 h 3709642"/>
              <a:gd name="connsiteX6" fmla="*/ 443564 w 559472"/>
              <a:gd name="connsiteY6" fmla="*/ 3408563 h 3709642"/>
              <a:gd name="connsiteX7" fmla="*/ 438902 w 559472"/>
              <a:gd name="connsiteY7" fmla="*/ 3304407 h 3709642"/>
              <a:gd name="connsiteX8" fmla="*/ 433941 w 559472"/>
              <a:gd name="connsiteY8" fmla="*/ 3198777 h 3709642"/>
              <a:gd name="connsiteX9" fmla="*/ 427584 w 559472"/>
              <a:gd name="connsiteY9" fmla="*/ 3092510 h 3709642"/>
              <a:gd name="connsiteX10" fmla="*/ 420988 w 559472"/>
              <a:gd name="connsiteY10" fmla="*/ 2984390 h 3709642"/>
              <a:gd name="connsiteX11" fmla="*/ 414330 w 559472"/>
              <a:gd name="connsiteY11" fmla="*/ 2874401 h 3709642"/>
              <a:gd name="connsiteX12" fmla="*/ 406840 w 559472"/>
              <a:gd name="connsiteY12" fmla="*/ 2762980 h 3709642"/>
              <a:gd name="connsiteX13" fmla="*/ 397745 w 559472"/>
              <a:gd name="connsiteY13" fmla="*/ 2650566 h 3709642"/>
              <a:gd name="connsiteX14" fmla="*/ 389154 w 559472"/>
              <a:gd name="connsiteY14" fmla="*/ 2536612 h 3709642"/>
              <a:gd name="connsiteX15" fmla="*/ 379225 w 559472"/>
              <a:gd name="connsiteY15" fmla="*/ 2421642 h 3709642"/>
              <a:gd name="connsiteX16" fmla="*/ 368316 w 559472"/>
              <a:gd name="connsiteY16" fmla="*/ 2305627 h 3709642"/>
              <a:gd name="connsiteX17" fmla="*/ 357466 w 559472"/>
              <a:gd name="connsiteY17" fmla="*/ 2189233 h 3709642"/>
              <a:gd name="connsiteX18" fmla="*/ 344982 w 559472"/>
              <a:gd name="connsiteY18" fmla="*/ 2071473 h 3709642"/>
              <a:gd name="connsiteX19" fmla="*/ 332466 w 559472"/>
              <a:gd name="connsiteY19" fmla="*/ 1952216 h 3709642"/>
              <a:gd name="connsiteX20" fmla="*/ 319121 w 559472"/>
              <a:gd name="connsiteY20" fmla="*/ 1833776 h 3709642"/>
              <a:gd name="connsiteX21" fmla="*/ 304408 w 559472"/>
              <a:gd name="connsiteY21" fmla="*/ 1713948 h 3709642"/>
              <a:gd name="connsiteX22" fmla="*/ 288685 w 559472"/>
              <a:gd name="connsiteY22" fmla="*/ 1592703 h 3709642"/>
              <a:gd name="connsiteX23" fmla="*/ 273050 w 559472"/>
              <a:gd name="connsiteY23" fmla="*/ 1471451 h 3709642"/>
              <a:gd name="connsiteX24" fmla="*/ 255813 w 559472"/>
              <a:gd name="connsiteY24" fmla="*/ 1350328 h 3709642"/>
              <a:gd name="connsiteX25" fmla="*/ 237060 w 559472"/>
              <a:gd name="connsiteY25" fmla="*/ 1227080 h 3709642"/>
              <a:gd name="connsiteX26" fmla="*/ 218488 w 559472"/>
              <a:gd name="connsiteY26" fmla="*/ 1106065 h 3709642"/>
              <a:gd name="connsiteX27" fmla="*/ 198221 w 559472"/>
              <a:gd name="connsiteY27" fmla="*/ 982940 h 3709642"/>
              <a:gd name="connsiteX28" fmla="*/ 177152 w 559472"/>
              <a:gd name="connsiteY28" fmla="*/ 858755 h 3709642"/>
              <a:gd name="connsiteX29" fmla="*/ 155551 w 559472"/>
              <a:gd name="connsiteY29" fmla="*/ 736861 h 3709642"/>
              <a:gd name="connsiteX30" fmla="*/ 131782 w 559472"/>
              <a:gd name="connsiteY30" fmla="*/ 613645 h 3709642"/>
              <a:gd name="connsiteX31" fmla="*/ 107123 w 559472"/>
              <a:gd name="connsiteY31" fmla="*/ 490500 h 3709642"/>
              <a:gd name="connsiteX32" fmla="*/ 82552 w 559472"/>
              <a:gd name="connsiteY32" fmla="*/ 367348 h 3709642"/>
              <a:gd name="connsiteX33" fmla="*/ 55608 w 559472"/>
              <a:gd name="connsiteY33" fmla="*/ 244762 h 3709642"/>
              <a:gd name="connsiteX34" fmla="*/ 28130 w 559472"/>
              <a:gd name="connsiteY34" fmla="*/ 122220 h 3709642"/>
              <a:gd name="connsiteX35" fmla="*/ 0 w 559472"/>
              <a:gd name="connsiteY35" fmla="*/ 0 h 370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59472" h="3709642">
                <a:moveTo>
                  <a:pt x="0" y="0"/>
                </a:moveTo>
                <a:lnTo>
                  <a:pt x="473952" y="0"/>
                </a:lnTo>
                <a:lnTo>
                  <a:pt x="485840" y="161194"/>
                </a:lnTo>
                <a:cubicBezTo>
                  <a:pt x="552063" y="1147770"/>
                  <a:pt x="592441" y="3086737"/>
                  <a:pt x="523949" y="3672197"/>
                </a:cubicBezTo>
                <a:cubicBezTo>
                  <a:pt x="500842" y="3684557"/>
                  <a:pt x="477855" y="3697282"/>
                  <a:pt x="454748" y="3709642"/>
                </a:cubicBezTo>
                <a:lnTo>
                  <a:pt x="448224" y="3510471"/>
                </a:lnTo>
                <a:lnTo>
                  <a:pt x="443564" y="3408563"/>
                </a:lnTo>
                <a:lnTo>
                  <a:pt x="438902" y="3304407"/>
                </a:lnTo>
                <a:lnTo>
                  <a:pt x="433941" y="3198777"/>
                </a:lnTo>
                <a:lnTo>
                  <a:pt x="427584" y="3092510"/>
                </a:lnTo>
                <a:lnTo>
                  <a:pt x="420988" y="2984390"/>
                </a:lnTo>
                <a:lnTo>
                  <a:pt x="414330" y="2874401"/>
                </a:lnTo>
                <a:lnTo>
                  <a:pt x="406840" y="2762980"/>
                </a:lnTo>
                <a:lnTo>
                  <a:pt x="397745" y="2650566"/>
                </a:lnTo>
                <a:lnTo>
                  <a:pt x="389154" y="2536612"/>
                </a:lnTo>
                <a:lnTo>
                  <a:pt x="379225" y="2421642"/>
                </a:lnTo>
                <a:lnTo>
                  <a:pt x="368316" y="2305627"/>
                </a:lnTo>
                <a:lnTo>
                  <a:pt x="357466" y="2189233"/>
                </a:lnTo>
                <a:lnTo>
                  <a:pt x="344982" y="2071473"/>
                </a:lnTo>
                <a:lnTo>
                  <a:pt x="332466" y="1952216"/>
                </a:lnTo>
                <a:lnTo>
                  <a:pt x="319121" y="1833776"/>
                </a:lnTo>
                <a:lnTo>
                  <a:pt x="304408" y="1713948"/>
                </a:lnTo>
                <a:lnTo>
                  <a:pt x="288685" y="1592703"/>
                </a:lnTo>
                <a:lnTo>
                  <a:pt x="273050" y="1471451"/>
                </a:lnTo>
                <a:lnTo>
                  <a:pt x="255813" y="1350328"/>
                </a:lnTo>
                <a:lnTo>
                  <a:pt x="237060" y="1227080"/>
                </a:lnTo>
                <a:lnTo>
                  <a:pt x="218488" y="1106065"/>
                </a:lnTo>
                <a:lnTo>
                  <a:pt x="198221" y="982940"/>
                </a:lnTo>
                <a:lnTo>
                  <a:pt x="177152" y="858755"/>
                </a:lnTo>
                <a:lnTo>
                  <a:pt x="155551" y="736861"/>
                </a:lnTo>
                <a:lnTo>
                  <a:pt x="131782" y="613645"/>
                </a:lnTo>
                <a:lnTo>
                  <a:pt x="107123" y="490500"/>
                </a:lnTo>
                <a:lnTo>
                  <a:pt x="82552" y="367348"/>
                </a:lnTo>
                <a:lnTo>
                  <a:pt x="55608" y="244762"/>
                </a:lnTo>
                <a:lnTo>
                  <a:pt x="28130" y="12222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4" descr="Desk with stethoscope and computer keyboard">
            <a:extLst>
              <a:ext uri="{FF2B5EF4-FFF2-40B4-BE49-F238E27FC236}">
                <a16:creationId xmlns:a16="http://schemas.microsoft.com/office/drawing/2014/main" id="{CE11B275-9E1B-0C8F-6279-E7DDB3BC725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1693" r="-2" b="-2"/>
          <a:stretch/>
        </p:blipFill>
        <p:spPr>
          <a:xfrm>
            <a:off x="7229175" y="1"/>
            <a:ext cx="4963245" cy="6858001"/>
          </a:xfrm>
          <a:custGeom>
            <a:avLst/>
            <a:gdLst/>
            <a:ahLst/>
            <a:cxnLst/>
            <a:rect l="l" t="t" r="r" b="b"/>
            <a:pathLst>
              <a:path w="4963245" h="6858001">
                <a:moveTo>
                  <a:pt x="1177" y="0"/>
                </a:moveTo>
                <a:lnTo>
                  <a:pt x="1344715" y="0"/>
                </a:lnTo>
                <a:lnTo>
                  <a:pt x="1344715" y="1"/>
                </a:lnTo>
                <a:lnTo>
                  <a:pt x="4963245" y="1"/>
                </a:lnTo>
                <a:lnTo>
                  <a:pt x="4963244" y="6858001"/>
                </a:lnTo>
                <a:lnTo>
                  <a:pt x="900697" y="6858001"/>
                </a:lnTo>
                <a:lnTo>
                  <a:pt x="900697" y="6858000"/>
                </a:lnTo>
                <a:lnTo>
                  <a:pt x="0" y="6858000"/>
                </a:lnTo>
                <a:lnTo>
                  <a:pt x="5883" y="6817538"/>
                </a:lnTo>
                <a:lnTo>
                  <a:pt x="23196" y="6698894"/>
                </a:lnTo>
                <a:lnTo>
                  <a:pt x="35299" y="6612483"/>
                </a:lnTo>
                <a:lnTo>
                  <a:pt x="48073" y="6509613"/>
                </a:lnTo>
                <a:lnTo>
                  <a:pt x="63369" y="6387541"/>
                </a:lnTo>
                <a:lnTo>
                  <a:pt x="79506" y="6252438"/>
                </a:lnTo>
                <a:lnTo>
                  <a:pt x="96483" y="6100191"/>
                </a:lnTo>
                <a:lnTo>
                  <a:pt x="114469" y="5934227"/>
                </a:lnTo>
                <a:lnTo>
                  <a:pt x="132454" y="5753862"/>
                </a:lnTo>
                <a:lnTo>
                  <a:pt x="150776" y="5561838"/>
                </a:lnTo>
                <a:lnTo>
                  <a:pt x="167753" y="5354726"/>
                </a:lnTo>
                <a:lnTo>
                  <a:pt x="184058" y="5138013"/>
                </a:lnTo>
                <a:lnTo>
                  <a:pt x="198849" y="4908956"/>
                </a:lnTo>
                <a:lnTo>
                  <a:pt x="212969" y="4670298"/>
                </a:lnTo>
                <a:lnTo>
                  <a:pt x="226248" y="4421352"/>
                </a:lnTo>
                <a:lnTo>
                  <a:pt x="230955" y="4293793"/>
                </a:lnTo>
                <a:lnTo>
                  <a:pt x="236165" y="4163492"/>
                </a:lnTo>
                <a:lnTo>
                  <a:pt x="241040" y="4031133"/>
                </a:lnTo>
                <a:lnTo>
                  <a:pt x="244234" y="3898087"/>
                </a:lnTo>
                <a:lnTo>
                  <a:pt x="247091" y="3762299"/>
                </a:lnTo>
                <a:lnTo>
                  <a:pt x="250117" y="3625139"/>
                </a:lnTo>
                <a:lnTo>
                  <a:pt x="252134" y="3485236"/>
                </a:lnTo>
                <a:lnTo>
                  <a:pt x="252134" y="3343961"/>
                </a:lnTo>
                <a:lnTo>
                  <a:pt x="253142" y="3201315"/>
                </a:lnTo>
                <a:lnTo>
                  <a:pt x="252134" y="3057297"/>
                </a:lnTo>
                <a:lnTo>
                  <a:pt x="250117" y="2911221"/>
                </a:lnTo>
                <a:lnTo>
                  <a:pt x="248268" y="2765146"/>
                </a:lnTo>
                <a:lnTo>
                  <a:pt x="244234" y="2617013"/>
                </a:lnTo>
                <a:lnTo>
                  <a:pt x="240032" y="2467509"/>
                </a:lnTo>
                <a:lnTo>
                  <a:pt x="235157" y="2318004"/>
                </a:lnTo>
                <a:lnTo>
                  <a:pt x="228266" y="2167128"/>
                </a:lnTo>
                <a:lnTo>
                  <a:pt x="220029" y="2014881"/>
                </a:lnTo>
                <a:lnTo>
                  <a:pt x="212129" y="1861947"/>
                </a:lnTo>
                <a:lnTo>
                  <a:pt x="202044" y="1709014"/>
                </a:lnTo>
                <a:lnTo>
                  <a:pt x="189941" y="1554023"/>
                </a:lnTo>
                <a:lnTo>
                  <a:pt x="177839" y="1401090"/>
                </a:lnTo>
                <a:lnTo>
                  <a:pt x="163887" y="1245413"/>
                </a:lnTo>
                <a:lnTo>
                  <a:pt x="148591" y="1089051"/>
                </a:lnTo>
                <a:lnTo>
                  <a:pt x="132455" y="934746"/>
                </a:lnTo>
                <a:lnTo>
                  <a:pt x="113629" y="778383"/>
                </a:lnTo>
                <a:lnTo>
                  <a:pt x="93458" y="622707"/>
                </a:lnTo>
                <a:lnTo>
                  <a:pt x="73455" y="466344"/>
                </a:lnTo>
                <a:lnTo>
                  <a:pt x="50091" y="310668"/>
                </a:lnTo>
                <a:lnTo>
                  <a:pt x="26222" y="155677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898503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A7A906-6069-E572-6E8B-D937ACF4D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5400" dirty="0"/>
              <a:t> The proble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D38837-7CCF-8EC1-C717-76A809BA09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dirty="0"/>
              <a:t>Turnover was impacting team performance and ability to meet mission requirements. </a:t>
            </a:r>
          </a:p>
        </p:txBody>
      </p:sp>
    </p:spTree>
    <p:extLst>
      <p:ext uri="{BB962C8B-B14F-4D97-AF65-F5344CB8AC3E}">
        <p14:creationId xmlns:p14="http://schemas.microsoft.com/office/powerpoint/2010/main" val="5897818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DB5B98-F2EC-C186-3275-560102115E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Literature</a:t>
            </a:r>
          </a:p>
        </p:txBody>
      </p:sp>
      <p:pic>
        <p:nvPicPr>
          <p:cNvPr id="5" name="Content Placeholder 4" descr="A row of computers in a library&#10;&#10;Description automatically generated">
            <a:extLst>
              <a:ext uri="{FF2B5EF4-FFF2-40B4-BE49-F238E27FC236}">
                <a16:creationId xmlns:a16="http://schemas.microsoft.com/office/drawing/2014/main" id="{D337FB65-D0D6-87A0-2B27-6595CD9BDD1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91916" y="1247794"/>
            <a:ext cx="7900421" cy="5157488"/>
          </a:xfrm>
        </p:spPr>
      </p:pic>
    </p:spTree>
    <p:extLst>
      <p:ext uri="{BB962C8B-B14F-4D97-AF65-F5344CB8AC3E}">
        <p14:creationId xmlns:p14="http://schemas.microsoft.com/office/powerpoint/2010/main" val="29389649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CBECCA-6051-11BC-D699-60F613B1F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130" y="296307"/>
            <a:ext cx="9404723" cy="1207640"/>
          </a:xfrm>
        </p:spPr>
        <p:txBody>
          <a:bodyPr/>
          <a:lstStyle/>
          <a:p>
            <a:pPr algn="ctr"/>
            <a:r>
              <a:rPr lang="en-US" dirty="0"/>
              <a:t>Information sharing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794C45-98A9-B92A-F052-E0D2A1E48A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3312" y="1395663"/>
            <a:ext cx="8946541" cy="5069304"/>
          </a:xfrm>
        </p:spPr>
        <p:txBody>
          <a:bodyPr>
            <a:normAutofit fontScale="40000" lnSpcReduction="20000"/>
          </a:bodyPr>
          <a:lstStyle/>
          <a:p>
            <a:pPr marR="0">
              <a:buFont typeface="Wingdings" pitchFamily="2" charset="2"/>
              <a:buChar char="§"/>
            </a:pPr>
            <a:endParaRPr lang="en-US" sz="1000" b="0" dirty="0">
              <a:effectLst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R="0">
              <a:buFont typeface="Wingdings" pitchFamily="2" charset="2"/>
              <a:buChar char="§"/>
            </a:pPr>
            <a:r>
              <a:rPr lang="en-US" sz="7000" dirty="0"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Teams possess more information than individuals do, but additional information cannot improve performance unless shared. </a:t>
            </a:r>
          </a:p>
          <a:p>
            <a:pPr marR="0">
              <a:buFont typeface="Wingdings" pitchFamily="2" charset="2"/>
              <a:buChar char="§"/>
            </a:pPr>
            <a:endParaRPr lang="en-US" sz="2000" dirty="0"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R="0">
              <a:buFont typeface="Wingdings" pitchFamily="2" charset="2"/>
              <a:buChar char="§"/>
            </a:pPr>
            <a:r>
              <a:rPr lang="en-US" sz="7000" dirty="0"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Information sharing markedly improves subjective performance measures but only weakly improves objective measures.</a:t>
            </a:r>
          </a:p>
          <a:p>
            <a:pPr marR="0">
              <a:buFont typeface="Wingdings" pitchFamily="2" charset="2"/>
              <a:buChar char="§"/>
            </a:pPr>
            <a:endParaRPr lang="en-US" sz="2000" dirty="0"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R="0">
              <a:buFont typeface="Wingdings" pitchFamily="2" charset="2"/>
              <a:buChar char="§"/>
            </a:pPr>
            <a:r>
              <a:rPr lang="en-US" sz="7000" dirty="0"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“Teams often fail to share information when they most need to do so.”</a:t>
            </a:r>
          </a:p>
          <a:p>
            <a:pPr marR="0">
              <a:buFont typeface="Wingdings" pitchFamily="2" charset="2"/>
              <a:buChar char="§"/>
            </a:pPr>
            <a:endParaRPr lang="en-US" sz="7400" dirty="0"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3500" b="0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Mesmer-Magnus J and </a:t>
            </a:r>
            <a:r>
              <a:rPr lang="en-US" sz="3500" b="0" dirty="0" err="1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DeChurch</a:t>
            </a:r>
            <a:r>
              <a:rPr lang="en-US" sz="3500" b="0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 L. Information sharing and team performance: a meta-analysis. </a:t>
            </a:r>
            <a:r>
              <a:rPr lang="en-US" sz="3500" b="0" i="1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Journal of Applied Psychology</a:t>
            </a:r>
            <a:r>
              <a:rPr lang="en-US" sz="3500" b="0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. 2009; 94 (2): 535-546. </a:t>
            </a:r>
            <a:r>
              <a:rPr lang="en-US" sz="3500" b="0" dirty="0">
                <a:solidFill>
                  <a:srgbClr val="0000FF"/>
                </a:solidFill>
                <a:effectLst/>
                <a:latin typeface="+mn-lt"/>
                <a:ea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eb-p-ebscohostcom.proxygw.wrlc.org/ehost/pdfviewer/pdfviewer?vid=0&amp;sid=dd77692e-b39d-40ef-b495-1c051a1a6365%40redis</a:t>
            </a:r>
            <a:endParaRPr lang="en-US" sz="3500" dirty="0">
              <a:solidFill>
                <a:srgbClr val="0000FF"/>
              </a:solidFill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319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F56BC1-A532-82AD-B6C7-72DC58389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171545"/>
          </a:xfrm>
        </p:spPr>
        <p:txBody>
          <a:bodyPr/>
          <a:lstStyle/>
          <a:p>
            <a:pPr algn="ctr"/>
            <a:r>
              <a:rPr lang="en-US" dirty="0"/>
              <a:t>Types of trai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622527-B1E2-901A-AC09-25A09C2B93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293" y="1624263"/>
            <a:ext cx="8946541" cy="4840704"/>
          </a:xfrm>
        </p:spPr>
        <p:txBody>
          <a:bodyPr>
            <a:normAutofit lnSpcReduction="10000"/>
          </a:bodyPr>
          <a:lstStyle/>
          <a:p>
            <a:pPr marR="0">
              <a:buFont typeface="Wingdings" pitchFamily="2" charset="2"/>
              <a:buChar char="§"/>
            </a:pPr>
            <a:r>
              <a:rPr lang="en-US" sz="2800" dirty="0">
                <a:effectLst/>
                <a:latin typeface="+mn-lt"/>
                <a:ea typeface="Calibri" panose="020F0502020204030204" pitchFamily="34" charset="0"/>
              </a:rPr>
              <a:t>“Training programs involving a single training strategy (i.e., information, demonstration, or practice) were just as effective as training programs that used multiple strategies.”</a:t>
            </a:r>
            <a:r>
              <a:rPr lang="en-US" sz="2800" dirty="0">
                <a:effectLst/>
                <a:latin typeface="+mn-lt"/>
              </a:rPr>
              <a:t> </a:t>
            </a:r>
          </a:p>
          <a:p>
            <a:pPr marR="0">
              <a:buFont typeface="Wingdings" pitchFamily="2" charset="2"/>
              <a:buChar char="§"/>
            </a:pPr>
            <a:endParaRPr lang="en-US" sz="2800" b="0" dirty="0">
              <a:effectLst/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US" sz="2800" dirty="0">
                <a:latin typeface="+mn-lt"/>
                <a:ea typeface="Calibri" panose="020F0502020204030204" pitchFamily="34" charset="0"/>
              </a:rPr>
              <a:t>T</a:t>
            </a:r>
            <a:r>
              <a:rPr lang="en-US" sz="2800" dirty="0">
                <a:effectLst/>
                <a:latin typeface="+mn-lt"/>
                <a:ea typeface="Calibri" panose="020F0502020204030204" pitchFamily="34" charset="0"/>
              </a:rPr>
              <a:t>raining involving feedback from a senior staff member to a junior staff member decreased effectiveness, (perhaps because a power differential can shift the focus from task to personal-related content)</a:t>
            </a:r>
            <a:r>
              <a:rPr lang="en-US" sz="2800" dirty="0">
                <a:latin typeface="+mn-lt"/>
                <a:ea typeface="Calibri" panose="020F0502020204030204" pitchFamily="34" charset="0"/>
              </a:rPr>
              <a:t>.</a:t>
            </a:r>
          </a:p>
          <a:p>
            <a:pPr>
              <a:buFont typeface="Wingdings" pitchFamily="2" charset="2"/>
              <a:buChar char="§"/>
            </a:pPr>
            <a:endParaRPr lang="en-US" sz="2400" b="0" dirty="0">
              <a:effectLst/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2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Hughes A, Gregory M, Joseph D, et al. Saving lives: A meta-analysis of team training in healthcare. </a:t>
            </a:r>
            <a:r>
              <a:rPr lang="en-US" sz="1200" i="1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Journal of Applied Psychology</a:t>
            </a:r>
            <a:r>
              <a:rPr lang="en-US" sz="12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. 2016; 101 (9): 1266. </a:t>
            </a:r>
            <a:r>
              <a:rPr lang="en-US" sz="1200" u="sng" dirty="0">
                <a:solidFill>
                  <a:srgbClr val="0000FF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https://</a:t>
            </a:r>
            <a:r>
              <a:rPr lang="en-US" sz="1200" u="sng" dirty="0" err="1">
                <a:solidFill>
                  <a:srgbClr val="0000FF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www.proquest.com</a:t>
            </a:r>
            <a:r>
              <a:rPr lang="en-US" sz="1200" u="sng" dirty="0">
                <a:solidFill>
                  <a:srgbClr val="0000FF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/</a:t>
            </a:r>
            <a:r>
              <a:rPr lang="en-US" sz="1200" u="sng" dirty="0" err="1">
                <a:solidFill>
                  <a:srgbClr val="0000FF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docview</a:t>
            </a:r>
            <a:r>
              <a:rPr lang="en-US" sz="1200" u="sng" dirty="0">
                <a:solidFill>
                  <a:srgbClr val="0000FF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/2394160740?pq-origsite=primo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4400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Master">
  <a:themeElements>
    <a:clrScheme name="Custom 2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_NCIRD-2016-9b">
  <a:themeElements>
    <a:clrScheme name="colors-cdc-2016">
      <a:dk1>
        <a:srgbClr val="0B40A5"/>
      </a:dk1>
      <a:lt1>
        <a:srgbClr val="FFFFFF"/>
      </a:lt1>
      <a:dk2>
        <a:srgbClr val="3B495B"/>
      </a:dk2>
      <a:lt2>
        <a:srgbClr val="3A485A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CIRD-2016-9b" id="{C72C50AE-E64E-4C93-A1D5-08358D5E7A36}" vid="{BC44D0F9-662E-4239-B54B-CC907E7FC48E}"/>
    </a:ext>
  </a:extLst>
</a:theme>
</file>

<file path=ppt/theme/theme4.xml><?xml version="1.0" encoding="utf-8"?>
<a:theme xmlns:a="http://schemas.openxmlformats.org/drawingml/2006/main" name="NCIRD-2016-9b">
  <a:themeElements>
    <a:clrScheme name="colors-cdc-2016">
      <a:dk1>
        <a:srgbClr val="0B40A5"/>
      </a:dk1>
      <a:lt1>
        <a:srgbClr val="FFFFFF"/>
      </a:lt1>
      <a:dk2>
        <a:srgbClr val="3B495B"/>
      </a:dk2>
      <a:lt2>
        <a:srgbClr val="3A485A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CIRD-2016-9b" id="{C72C50AE-E64E-4C93-A1D5-08358D5E7A36}" vid="{BC44D0F9-662E-4239-B54B-CC907E7FC48E}"/>
    </a:ext>
  </a:extLst>
</a:theme>
</file>

<file path=ppt/theme/theme5.xml><?xml version="1.0" encoding="utf-8"?>
<a:theme xmlns:a="http://schemas.openxmlformats.org/drawingml/2006/main" name="7_Master">
  <a:themeElements>
    <a:clrScheme name="Custom 2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1BBDD672BAB240AE25E8C18386348A" ma:contentTypeVersion="5" ma:contentTypeDescription="Create a new document." ma:contentTypeScope="" ma:versionID="edb88f5c1ceec33db4cb0b7c993a8ce5">
  <xsd:schema xmlns:xsd="http://www.w3.org/2001/XMLSchema" xmlns:xs="http://www.w3.org/2001/XMLSchema" xmlns:p="http://schemas.microsoft.com/office/2006/metadata/properties" xmlns:ns1="http://schemas.microsoft.com/sharepoint/v3" xmlns:ns2="b22f8f74-215c-4154-9939-bd29e4e8980e" targetNamespace="http://schemas.microsoft.com/office/2006/metadata/properties" ma:root="true" ma:fieldsID="5b851cb5bcdff340b09bfb219dc0c9f3" ns1:_="" ns2:_="">
    <xsd:import namespace="http://schemas.microsoft.com/sharepoint/v3"/>
    <xsd:import namespace="b22f8f74-215c-4154-9939-bd29e4e8980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4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5" nillable="true" ma:displayName="Scheduling End Date" ma:description="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2f8f74-215c-4154-9939-bd29e4e8980e" elementFormDefault="qualified">
    <xsd:import namespace="http://schemas.microsoft.com/office/2006/documentManagement/types"/>
    <xsd:import namespace="http://schemas.microsoft.com/office/infopath/2007/PartnerControls"/>
    <xsd:element name="_dlc_DocId" ma:index="10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2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StartDate xmlns="http://schemas.microsoft.com/sharepoint/v3" xsi:nil="true"/>
    <_dlc_DocId xmlns="b22f8f74-215c-4154-9939-bd29e4e8980e">XRUYQT3274NZ-681238054-2033</_dlc_DocId>
    <_dlc_DocIdUrl xmlns="b22f8f74-215c-4154-9939-bd29e4e8980e">
      <Url>https://supportservices.jobcorps.gov/health/_layouts/15/DocIdRedir.aspx?ID=XRUYQT3274NZ-681238054-2033</Url>
      <Description>XRUYQT3274NZ-681238054-2033</Description>
    </_dlc_DocIdUrl>
    <PublishingExpiration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B83E79F-3C90-45A9-B6C2-47466A0D8059}"/>
</file>

<file path=customXml/itemProps2.xml><?xml version="1.0" encoding="utf-8"?>
<ds:datastoreItem xmlns:ds="http://schemas.openxmlformats.org/officeDocument/2006/customXml" ds:itemID="{DA439F34-5FC7-458C-B993-69103DEE9F3E}"/>
</file>

<file path=customXml/itemProps3.xml><?xml version="1.0" encoding="utf-8"?>
<ds:datastoreItem xmlns:ds="http://schemas.openxmlformats.org/officeDocument/2006/customXml" ds:itemID="{F56DD308-9C40-4B08-88C7-B2168665A5FB}"/>
</file>

<file path=customXml/itemProps4.xml><?xml version="1.0" encoding="utf-8"?>
<ds:datastoreItem xmlns:ds="http://schemas.openxmlformats.org/officeDocument/2006/customXml" ds:itemID="{819275CA-2072-4C02-9B89-36B99F81EC0D}"/>
</file>

<file path=docProps/app.xml><?xml version="1.0" encoding="utf-8"?>
<Properties xmlns="http://schemas.openxmlformats.org/officeDocument/2006/extended-properties" xmlns:vt="http://schemas.openxmlformats.org/officeDocument/2006/docPropsVTypes">
  <TotalTime>24921</TotalTime>
  <Words>1455</Words>
  <Application>Microsoft Office PowerPoint</Application>
  <PresentationFormat>Widescreen</PresentationFormat>
  <Paragraphs>199</Paragraphs>
  <Slides>3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54" baseType="lpstr">
      <vt:lpstr>Arial</vt:lpstr>
      <vt:lpstr>Avenir Book</vt:lpstr>
      <vt:lpstr>Avenir Medium</vt:lpstr>
      <vt:lpstr>Calibri</vt:lpstr>
      <vt:lpstr>Calibri Light</vt:lpstr>
      <vt:lpstr>Google Sans</vt:lpstr>
      <vt:lpstr>Myriad Web Pro</vt:lpstr>
      <vt:lpstr>Times New Roman</vt:lpstr>
      <vt:lpstr>Wingdings</vt:lpstr>
      <vt:lpstr>1_Office Theme</vt:lpstr>
      <vt:lpstr>6_Master</vt:lpstr>
      <vt:lpstr>3_NCIRD-2016-9b</vt:lpstr>
      <vt:lpstr>NCIRD-2016-9b</vt:lpstr>
      <vt:lpstr>7_Master</vt:lpstr>
      <vt:lpstr>Office Theme</vt:lpstr>
      <vt:lpstr>think-cell Slide</vt:lpstr>
      <vt:lpstr>Job Corps Center Physician Monthly Teleconference</vt:lpstr>
      <vt:lpstr>Guest speaker</vt:lpstr>
      <vt:lpstr>A Quality Improvement Project at  Penobscot Job Corps Academy</vt:lpstr>
      <vt:lpstr>Outline</vt:lpstr>
      <vt:lpstr>History</vt:lpstr>
      <vt:lpstr> The problem</vt:lpstr>
      <vt:lpstr>Literature</vt:lpstr>
      <vt:lpstr>Information sharing  </vt:lpstr>
      <vt:lpstr>Types of training</vt:lpstr>
      <vt:lpstr>Needs Assessment</vt:lpstr>
      <vt:lpstr>Which interventions?</vt:lpstr>
      <vt:lpstr>Changes Implemented </vt:lpstr>
      <vt:lpstr>1. Structured Team Meetings</vt:lpstr>
      <vt:lpstr>Set the weekly agenda</vt:lpstr>
      <vt:lpstr>2. Assign leads for complex team tasks</vt:lpstr>
      <vt:lpstr>3. Shared training responsibility</vt:lpstr>
      <vt:lpstr>What changed?</vt:lpstr>
      <vt:lpstr>Performance indicators</vt:lpstr>
      <vt:lpstr>PowerPoint Presentation</vt:lpstr>
      <vt:lpstr>Questions or comments?</vt:lpstr>
      <vt:lpstr>PowerPoint Presentation</vt:lpstr>
      <vt:lpstr>Heat-related illness </vt:lpstr>
      <vt:lpstr>PowerPoint Presentation</vt:lpstr>
      <vt:lpstr>AirNow </vt:lpstr>
      <vt:lpstr>Air Quality</vt:lpstr>
      <vt:lpstr>Physical activity</vt:lpstr>
      <vt:lpstr>Actions</vt:lpstr>
      <vt:lpstr>CDC Recommendations for skin cancer prevention:</vt:lpstr>
      <vt:lpstr>Center Physician’s Desk Reference Guide</vt:lpstr>
      <vt:lpstr>Nonalcoholic fatty liver disease (NAFLD) Nonalcoholic steatohepatitis (NASH)</vt:lpstr>
      <vt:lpstr>Classification of obesity</vt:lpstr>
      <vt:lpstr>Laboratory studies for obesity</vt:lpstr>
      <vt:lpstr>Molluscum contagiosum</vt:lpstr>
      <vt:lpstr>Molluscum contagiosum treatment</vt:lpstr>
      <vt:lpstr>Molluscum contagiosum First FDA-approved treatment</vt:lpstr>
      <vt:lpstr>Reactive infectious mucocutaneous eruption (RIME)</vt:lpstr>
      <vt:lpstr>Open Forum</vt:lpstr>
      <vt:lpstr>                Job Corps Center Physician Monthly Teleconference Next call: Wednesday, August 30th, 2023 Note 5th Wednesday of the mont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b Corps Center Physicians Monthly Teleconference</dc:title>
  <dc:creator>Sara Mackenzie</dc:creator>
  <cp:lastModifiedBy>Carolina Valdenegro</cp:lastModifiedBy>
  <cp:revision>508</cp:revision>
  <dcterms:created xsi:type="dcterms:W3CDTF">2021-01-27T15:35:33Z</dcterms:created>
  <dcterms:modified xsi:type="dcterms:W3CDTF">2024-02-28T19:0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1BBDD672BAB240AE25E8C18386348A</vt:lpwstr>
  </property>
  <property fmtid="{D5CDD505-2E9C-101B-9397-08002B2CF9AE}" pid="3" name="_dlc_DocIdItemGuid">
    <vt:lpwstr>e47ba952-3a63-4786-a75a-f7255e471d40</vt:lpwstr>
  </property>
</Properties>
</file>